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29.xml" ContentType="application/vnd.openxmlformats-officedocument.presentationml.slide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docProps/custom.xml" ContentType="application/vnd.openxmlformats-officedocument.custom-properties+xml"/>
  <Override PartName="/ppt/tags/tag14.xml" ContentType="application/vnd.openxmlformats-officedocument.presentationml.tags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slideMasters/slideMaster4.xml" ContentType="application/vnd.openxmlformats-officedocument.presentationml.slideMaster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heme/theme6.xml" ContentType="application/vnd.openxmlformats-officedocument.theme+xml"/>
  <Override PartName="/ppt/charts/chart1.xml" ContentType="application/vnd.openxmlformats-officedocument.drawingml.char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Default Extension="png" ContentType="image/png"/>
  <Override PartName="/ppt/slideLayouts/slideLayout7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Default Extension="wdp" ContentType="image/vnd.ms-photo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Default Extension="gif" ContentType="image/gif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Default Extension="rels" ContentType="application/vnd.openxmlformats-package.relationship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311" r:id="rId1"/>
    <p:sldMasterId id="2147488759" r:id="rId2"/>
    <p:sldMasterId id="2147483788" r:id="rId3"/>
    <p:sldMasterId id="2147483654" r:id="rId4"/>
  </p:sldMasterIdLst>
  <p:notesMasterIdLst>
    <p:notesMasterId r:id="rId48"/>
  </p:notesMasterIdLst>
  <p:handoutMasterIdLst>
    <p:handoutMasterId r:id="rId49"/>
  </p:handoutMasterIdLst>
  <p:sldIdLst>
    <p:sldId id="471" r:id="rId5"/>
    <p:sldId id="472" r:id="rId6"/>
    <p:sldId id="470" r:id="rId7"/>
    <p:sldId id="358" r:id="rId8"/>
    <p:sldId id="424" r:id="rId9"/>
    <p:sldId id="434" r:id="rId10"/>
    <p:sldId id="429" r:id="rId11"/>
    <p:sldId id="433" r:id="rId12"/>
    <p:sldId id="415" r:id="rId13"/>
    <p:sldId id="430" r:id="rId14"/>
    <p:sldId id="442" r:id="rId15"/>
    <p:sldId id="473" r:id="rId16"/>
    <p:sldId id="436" r:id="rId17"/>
    <p:sldId id="445" r:id="rId18"/>
    <p:sldId id="431" r:id="rId19"/>
    <p:sldId id="437" r:id="rId20"/>
    <p:sldId id="438" r:id="rId21"/>
    <p:sldId id="439" r:id="rId22"/>
    <p:sldId id="440" r:id="rId23"/>
    <p:sldId id="441" r:id="rId24"/>
    <p:sldId id="423" r:id="rId25"/>
    <p:sldId id="466" r:id="rId26"/>
    <p:sldId id="447" r:id="rId27"/>
    <p:sldId id="448" r:id="rId28"/>
    <p:sldId id="449" r:id="rId29"/>
    <p:sldId id="450" r:id="rId30"/>
    <p:sldId id="451" r:id="rId31"/>
    <p:sldId id="452" r:id="rId32"/>
    <p:sldId id="453" r:id="rId33"/>
    <p:sldId id="454" r:id="rId34"/>
    <p:sldId id="468" r:id="rId35"/>
    <p:sldId id="467" r:id="rId36"/>
    <p:sldId id="456" r:id="rId37"/>
    <p:sldId id="457" r:id="rId38"/>
    <p:sldId id="458" r:id="rId39"/>
    <p:sldId id="459" r:id="rId40"/>
    <p:sldId id="460" r:id="rId41"/>
    <p:sldId id="461" r:id="rId42"/>
    <p:sldId id="462" r:id="rId43"/>
    <p:sldId id="463" r:id="rId44"/>
    <p:sldId id="464" r:id="rId45"/>
    <p:sldId id="465" r:id="rId46"/>
    <p:sldId id="469" r:id="rId47"/>
  </p:sldIdLst>
  <p:sldSz cx="14630400" cy="8229600"/>
  <p:notesSz cx="6985000" cy="92710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6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1pPr>
    <a:lvl2pPr marL="450850" indent="1588" algn="l" rtl="0" eaLnBrk="0" fontAlgn="base" hangingPunct="0">
      <a:spcBef>
        <a:spcPct val="0"/>
      </a:spcBef>
      <a:spcAft>
        <a:spcPct val="0"/>
      </a:spcAft>
      <a:defRPr sz="26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2pPr>
    <a:lvl3pPr marL="908050" indent="1588" algn="l" rtl="0" eaLnBrk="0" fontAlgn="base" hangingPunct="0">
      <a:spcBef>
        <a:spcPct val="0"/>
      </a:spcBef>
      <a:spcAft>
        <a:spcPct val="0"/>
      </a:spcAft>
      <a:defRPr sz="26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3pPr>
    <a:lvl4pPr marL="1365250" indent="1588" algn="l" rtl="0" eaLnBrk="0" fontAlgn="base" hangingPunct="0">
      <a:spcBef>
        <a:spcPct val="0"/>
      </a:spcBef>
      <a:spcAft>
        <a:spcPct val="0"/>
      </a:spcAft>
      <a:defRPr sz="26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4pPr>
    <a:lvl5pPr marL="1822450" indent="1588" algn="l" rtl="0" eaLnBrk="0" fontAlgn="base" hangingPunct="0">
      <a:spcBef>
        <a:spcPct val="0"/>
      </a:spcBef>
      <a:spcAft>
        <a:spcPct val="0"/>
      </a:spcAft>
      <a:defRPr sz="26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26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26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26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2600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/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FFF8D"/>
    <a:srgbClr val="00B1E6"/>
    <a:srgbClr val="00C6FE"/>
    <a:srgbClr val="00BCEA"/>
    <a:srgbClr val="660033"/>
    <a:srgbClr val="FF6600"/>
    <a:srgbClr val="FDB813"/>
    <a:srgbClr val="CDC800"/>
    <a:srgbClr val="FFFF00"/>
    <a:srgbClr val="FF99FF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5660" autoAdjust="0"/>
    <p:restoredTop sz="99077" autoAdjust="0"/>
  </p:normalViewPr>
  <p:slideViewPr>
    <p:cSldViewPr snapToGrid="0" showGuides="1">
      <p:cViewPr>
        <p:scale>
          <a:sx n="66" d="100"/>
          <a:sy n="66" d="100"/>
        </p:scale>
        <p:origin x="-960" y="-276"/>
      </p:cViewPr>
      <p:guideLst>
        <p:guide orient="horz"/>
        <p:guide pos="464"/>
        <p:guide pos="874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5" d="100"/>
        <a:sy n="55" d="100"/>
      </p:scale>
      <p:origin x="0" y="2080"/>
    </p:cViewPr>
  </p:sorterViewPr>
  <p:notesViewPr>
    <p:cSldViewPr snapToGrid="0" showGuides="1">
      <p:cViewPr varScale="1">
        <p:scale>
          <a:sx n="63" d="100"/>
          <a:sy n="63" d="100"/>
        </p:scale>
        <p:origin x="-2832" y="-102"/>
      </p:cViewPr>
      <p:guideLst>
        <p:guide orient="horz" pos="2920"/>
        <p:guide pos="220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51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Workbook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style val="18"/>
  <c:chart>
    <c:plotArea>
      <c:layout/>
      <c:barChart>
        <c:barDir val="bar"/>
        <c:grouping val="clustered"/>
        <c:ser>
          <c:idx val="0"/>
          <c:order val="0"/>
          <c:tx>
            <c:strRef>
              <c:f>Sheet1!$E$3</c:f>
              <c:strCache>
                <c:ptCount val="1"/>
                <c:pt idx="0">
                  <c:v>Bambino 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</c:spPr>
          <c:cat>
            <c:strRef>
              <c:f>Sheet1!$D$4:$D$8</c:f>
              <c:strCache>
                <c:ptCount val="5"/>
                <c:pt idx="0">
                  <c:v>Food</c:v>
                </c:pt>
                <c:pt idx="1">
                  <c:v>Wine List</c:v>
                </c:pt>
                <c:pt idx="2">
                  <c:v>Staff</c:v>
                </c:pt>
                <c:pt idx="3">
                  <c:v>Decoration</c:v>
                </c:pt>
                <c:pt idx="4">
                  <c:v>Music</c:v>
                </c:pt>
              </c:strCache>
            </c:strRef>
          </c:cat>
          <c:val>
            <c:numRef>
              <c:f>Sheet1!$E$4:$E$8</c:f>
              <c:numCache>
                <c:formatCode>General</c:formatCode>
                <c:ptCount val="5"/>
                <c:pt idx="0">
                  <c:v>5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</c:numCache>
            </c:numRef>
          </c:val>
        </c:ser>
        <c:ser>
          <c:idx val="1"/>
          <c:order val="1"/>
          <c:tx>
            <c:strRef>
              <c:f>Sheet1!$F$3</c:f>
              <c:strCache>
                <c:ptCount val="1"/>
                <c:pt idx="0">
                  <c:v>Giampietro</c:v>
                </c:pt>
              </c:strCache>
            </c:strRef>
          </c:tx>
          <c:cat>
            <c:strRef>
              <c:f>Sheet1!$D$4:$D$8</c:f>
              <c:strCache>
                <c:ptCount val="5"/>
                <c:pt idx="0">
                  <c:v>Food</c:v>
                </c:pt>
                <c:pt idx="1">
                  <c:v>Wine List</c:v>
                </c:pt>
                <c:pt idx="2">
                  <c:v>Staff</c:v>
                </c:pt>
                <c:pt idx="3">
                  <c:v>Decoration</c:v>
                </c:pt>
                <c:pt idx="4">
                  <c:v>Music</c:v>
                </c:pt>
              </c:strCache>
            </c:strRef>
          </c:cat>
          <c:val>
            <c:numRef>
              <c:f>Sheet1!$F$4:$F$8</c:f>
              <c:numCache>
                <c:formatCode>General</c:formatCode>
                <c:ptCount val="5"/>
                <c:pt idx="0">
                  <c:v>4</c:v>
                </c:pt>
                <c:pt idx="1">
                  <c:v>5</c:v>
                </c:pt>
                <c:pt idx="2">
                  <c:v>3</c:v>
                </c:pt>
                <c:pt idx="3">
                  <c:v>5</c:v>
                </c:pt>
                <c:pt idx="4">
                  <c:v>4</c:v>
                </c:pt>
              </c:numCache>
            </c:numRef>
          </c:val>
        </c:ser>
        <c:dLbls/>
        <c:axId val="48748032"/>
        <c:axId val="49194496"/>
      </c:barChart>
      <c:catAx>
        <c:axId val="48748032"/>
        <c:scaling>
          <c:orientation val="minMax"/>
        </c:scaling>
        <c:axPos val="l"/>
        <c:tickLblPos val="nextTo"/>
        <c:crossAx val="49194496"/>
        <c:crosses val="autoZero"/>
        <c:auto val="1"/>
        <c:lblAlgn val="ctr"/>
        <c:lblOffset val="100"/>
      </c:catAx>
      <c:valAx>
        <c:axId val="49194496"/>
        <c:scaling>
          <c:orientation val="minMax"/>
          <c:max val="5"/>
        </c:scaling>
        <c:axPos val="b"/>
        <c:majorGridlines>
          <c:spPr>
            <a:ln>
              <a:noFill/>
            </a:ln>
          </c:spPr>
        </c:majorGridlines>
        <c:numFmt formatCode="General" sourceLinked="1"/>
        <c:tickLblPos val="nextTo"/>
        <c:crossAx val="48748032"/>
        <c:crosses val="autoZero"/>
        <c:crossBetween val="between"/>
      </c:valAx>
      <c:spPr>
        <a:ln>
          <a:noFill/>
        </a:ln>
      </c:spPr>
    </c:plotArea>
    <c:legend>
      <c:legendPos val="b"/>
      <c:layout/>
    </c:legend>
    <c:plotVisOnly val="1"/>
    <c:dispBlanksAs val="gap"/>
  </c:chart>
  <c:spPr>
    <a:ln w="0"/>
  </c:spPr>
  <c:txPr>
    <a:bodyPr/>
    <a:lstStyle/>
    <a:p>
      <a:pPr>
        <a:defRPr sz="1800"/>
      </a:pPr>
      <a:endParaRPr lang="en-US"/>
    </a:p>
  </c:txPr>
  <c:externalData r:id="rId1"/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27363" cy="46355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2150" tIns="46075" rIns="92150" bIns="46075" numCol="1" anchor="t" anchorCtr="0" compatLnSpc="1">
            <a:prstTxWarp prst="textNoShape">
              <a:avLst/>
            </a:prstTxWarp>
          </a:bodyPr>
          <a:lstStyle>
            <a:lvl1pPr defTabSz="920968" eaLnBrk="1" hangingPunct="1">
              <a:defRPr sz="1200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56050" y="0"/>
            <a:ext cx="3027363" cy="46355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2150" tIns="46075" rIns="92150" bIns="46075" numCol="1" anchor="t" anchorCtr="0" compatLnSpc="1">
            <a:prstTxWarp prst="textNoShape">
              <a:avLst/>
            </a:prstTxWarp>
          </a:bodyPr>
          <a:lstStyle>
            <a:lvl1pPr algn="r" defTabSz="920968" eaLnBrk="1" hangingPunct="1">
              <a:defRPr sz="1200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194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05863"/>
            <a:ext cx="3027363" cy="46355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2150" tIns="46075" rIns="92150" bIns="46075" numCol="1" anchor="b" anchorCtr="0" compatLnSpc="1">
            <a:prstTxWarp prst="textNoShape">
              <a:avLst/>
            </a:prstTxWarp>
          </a:bodyPr>
          <a:lstStyle>
            <a:lvl1pPr defTabSz="920968" eaLnBrk="1" hangingPunct="1">
              <a:defRPr sz="1200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194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56050" y="8805863"/>
            <a:ext cx="3027363" cy="46355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2150" tIns="46075" rIns="92150" bIns="46075" numCol="1" anchor="b" anchorCtr="0" compatLnSpc="1">
            <a:prstTxWarp prst="textNoShape">
              <a:avLst/>
            </a:prstTxWarp>
          </a:bodyPr>
          <a:lstStyle>
            <a:lvl1pPr algn="r" defTabSz="920750" eaLnBrk="1" hangingPunct="1">
              <a:defRPr sz="1200">
                <a:cs typeface="Arial" pitchFamily="34" charset="0"/>
              </a:defRPr>
            </a:lvl1pPr>
          </a:lstStyle>
          <a:p>
            <a:fld id="{9640BE55-704A-4394-9CD6-EA14B9520A2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15910277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27363" cy="46355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2150" tIns="46075" rIns="92150" bIns="46075" numCol="1" anchor="t" anchorCtr="0" compatLnSpc="1">
            <a:prstTxWarp prst="textNoShape">
              <a:avLst/>
            </a:prstTxWarp>
          </a:bodyPr>
          <a:lstStyle>
            <a:lvl1pPr defTabSz="920968" eaLnBrk="1" hangingPunct="1">
              <a:defRPr sz="1200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56050" y="0"/>
            <a:ext cx="3027363" cy="46355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2150" tIns="46075" rIns="92150" bIns="46075" numCol="1" anchor="t" anchorCtr="0" compatLnSpc="1">
            <a:prstTxWarp prst="textNoShape">
              <a:avLst/>
            </a:prstTxWarp>
          </a:bodyPr>
          <a:lstStyle>
            <a:lvl1pPr algn="r" defTabSz="920968" eaLnBrk="1" hangingPunct="1">
              <a:defRPr sz="1200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1321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03225" y="695325"/>
            <a:ext cx="6178550" cy="34766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98500" y="4403725"/>
            <a:ext cx="5589588" cy="417195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2150" tIns="46075" rIns="92150" bIns="4607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819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05863"/>
            <a:ext cx="3027363" cy="46355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2150" tIns="46075" rIns="92150" bIns="46075" numCol="1" anchor="b" anchorCtr="0" compatLnSpc="1">
            <a:prstTxWarp prst="textNoShape">
              <a:avLst/>
            </a:prstTxWarp>
          </a:bodyPr>
          <a:lstStyle>
            <a:lvl1pPr defTabSz="920968" eaLnBrk="1" hangingPunct="1">
              <a:defRPr sz="1200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819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56050" y="8805863"/>
            <a:ext cx="3027363" cy="46355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2150" tIns="46075" rIns="92150" bIns="46075" numCol="1" anchor="b" anchorCtr="0" compatLnSpc="1">
            <a:prstTxWarp prst="textNoShape">
              <a:avLst/>
            </a:prstTxWarp>
          </a:bodyPr>
          <a:lstStyle>
            <a:lvl1pPr algn="r" defTabSz="920750" eaLnBrk="1" hangingPunct="1">
              <a:defRPr sz="1200">
                <a:cs typeface="Arial" pitchFamily="34" charset="0"/>
              </a:defRPr>
            </a:lvl1pPr>
          </a:lstStyle>
          <a:p>
            <a:fld id="{A3CBCF50-AB05-4436-9760-CEE2081252C1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51014867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Arial" pitchFamily="34" charset="0"/>
        <a:ea typeface="ＭＳ Ｐゴシック" pitchFamily="34" charset="-128"/>
        <a:cs typeface="MS PGothic" charset="0"/>
      </a:defRPr>
    </a:lvl1pPr>
    <a:lvl2pPr marL="450850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Arial" pitchFamily="34" charset="0"/>
        <a:ea typeface="ＭＳ Ｐゴシック" pitchFamily="34" charset="-128"/>
        <a:cs typeface="MS PGothic" charset="0"/>
      </a:defRPr>
    </a:lvl2pPr>
    <a:lvl3pPr marL="908050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Arial" pitchFamily="34" charset="0"/>
        <a:ea typeface="ＭＳ Ｐゴシック" pitchFamily="34" charset="-128"/>
        <a:cs typeface="MS PGothic" charset="0"/>
      </a:defRPr>
    </a:lvl3pPr>
    <a:lvl4pPr marL="1365250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Arial" pitchFamily="34" charset="0"/>
        <a:ea typeface="ＭＳ Ｐゴシック" pitchFamily="34" charset="-128"/>
        <a:cs typeface="MS PGothic" charset="0"/>
      </a:defRPr>
    </a:lvl4pPr>
    <a:lvl5pPr marL="1822450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Arial" pitchFamily="34" charset="0"/>
        <a:ea typeface="ＭＳ Ｐゴシック" pitchFamily="34" charset="-128"/>
        <a:cs typeface="MS PGothic" charset="0"/>
      </a:defRPr>
    </a:lvl5pPr>
    <a:lvl6pPr marL="2284629" algn="l" defTabSz="913851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741554" algn="l" defTabSz="913851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3198480" algn="l" defTabSz="913851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655406" algn="l" defTabSz="913851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6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5170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61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43362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smtClean="0"/>
          </a:p>
        </p:txBody>
      </p:sp>
      <p:sp>
        <p:nvSpPr>
          <p:cNvPr id="143363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075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92075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92075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92075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92075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fld id="{F67CAF87-8D7E-4F8D-A9BD-7C7D0CB7CD90}" type="slidenum">
              <a:rPr lang="en-US" altLang="en-US" sz="1200">
                <a:solidFill>
                  <a:srgbClr val="000000"/>
                </a:solidFill>
              </a:rPr>
              <a:pPr/>
              <a:t>9</a:t>
            </a:fld>
            <a:endParaRPr lang="en-US" altLang="en-US" sz="120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36700" y="671513"/>
            <a:ext cx="3911600" cy="22018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D817518-FB06-4843-9B46-F72D174830EE}" type="slidenum">
              <a:rPr lang="en-US" smtClean="0"/>
              <a:pPr>
                <a:defRPr/>
              </a:pPr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6981029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536700" y="671513"/>
            <a:ext cx="3911600" cy="220186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536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en-US" dirty="0" smtClean="0"/>
              <a:t>Note: This graphic, and several</a:t>
            </a:r>
            <a:r>
              <a:rPr lang="en-US" altLang="en-US" baseline="0" dirty="0" smtClean="0"/>
              <a:t> others in the report are a preview of the upcoming IBM X-Force Threat Intelligence Quarterly for 1Q, being publishing on March 17, 2015.</a:t>
            </a:r>
          </a:p>
          <a:p>
            <a:pPr eaLnBrk="1" hangingPunct="1">
              <a:spcBef>
                <a:spcPct val="0"/>
              </a:spcBef>
            </a:pPr>
            <a:endParaRPr lang="en-US" altLang="en-US" baseline="0" dirty="0" smtClean="0"/>
          </a:p>
          <a:p>
            <a:pPr eaLnBrk="1" hangingPunct="1">
              <a:spcBef>
                <a:spcPct val="0"/>
              </a:spcBef>
            </a:pPr>
            <a:r>
              <a:rPr lang="en-US" altLang="en-US" baseline="0" dirty="0" smtClean="0"/>
              <a:t>In the past three years, the amount of data records and variety of attacks have expanded to epic levels.</a:t>
            </a:r>
            <a:endParaRPr lang="en-US" altLang="en-US" dirty="0" smtClean="0"/>
          </a:p>
        </p:txBody>
      </p:sp>
      <p:sp>
        <p:nvSpPr>
          <p:cNvPr id="1536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54613" indent="-290236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60944" indent="-23219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25322" indent="-23219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89700" indent="-23219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54077" indent="-23219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018455" indent="-23219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82833" indent="-23219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947210" indent="-23219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7440FE30-1C5C-4176-8ADB-31AB9F468DD2}" type="slidenum">
              <a:rPr lang="en-US" altLang="en-US" smtClean="0"/>
              <a:pPr>
                <a:spcBef>
                  <a:spcPct val="0"/>
                </a:spcBef>
              </a:pPr>
              <a:t>34</a:t>
            </a:fld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xmlns="" val="12946212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C48E55-58F1-4617-B132-C471724B366F}" type="slidenum">
              <a:rPr lang="en-US" smtClean="0"/>
              <a:pPr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6807813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3225" y="695325"/>
            <a:ext cx="6178550" cy="3476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37780" y="4444437"/>
            <a:ext cx="6457891" cy="5882901"/>
          </a:xfrm>
        </p:spPr>
        <p:txBody>
          <a:bodyPr/>
          <a:lstStyle/>
          <a:p>
            <a:r>
              <a:rPr lang="en-US" b="1" dirty="0" smtClean="0"/>
              <a:t>The sophistication</a:t>
            </a:r>
            <a:r>
              <a:rPr lang="en-US" b="1" baseline="0" dirty="0" smtClean="0"/>
              <a:t> </a:t>
            </a:r>
            <a:r>
              <a:rPr lang="en-US" b="1" dirty="0" smtClean="0"/>
              <a:t>of today’s attackers increasing…</a:t>
            </a:r>
          </a:p>
          <a:p>
            <a:endParaRPr lang="en-US" dirty="0" smtClean="0"/>
          </a:p>
          <a:p>
            <a:pPr marL="174159" indent="-174159" defTabSz="464424">
              <a:buFont typeface="Arial" pitchFamily="34" charset="0"/>
              <a:buChar char="•"/>
              <a:defRPr/>
            </a:pPr>
            <a:r>
              <a:rPr lang="en-US" sz="1400" dirty="0"/>
              <a:t>Attacks are becoming more targeted. The attackers look for specific organizations they want to attack, and then find a way to get in – spending months in some cases, as we have just seen with a number of recent situations. They find specific individuals through spear fishing, individuals who may not be in the target organization, but who are way down the supply chain</a:t>
            </a:r>
            <a:endParaRPr lang="en-US" altLang="en-US" sz="2000" spc="-30" dirty="0">
              <a:latin typeface="Arial"/>
              <a:ea typeface="+mn-ea"/>
              <a:cs typeface="Arial" pitchFamily="34" charset="0"/>
            </a:endParaRPr>
          </a:p>
          <a:p>
            <a:pPr marL="174159" indent="-174159" defTabSz="464424">
              <a:buFont typeface="Arial" pitchFamily="34" charset="0"/>
              <a:buChar char="•"/>
              <a:defRPr/>
            </a:pPr>
            <a:endParaRPr lang="en-US" altLang="en-US" sz="2000" spc="-30" dirty="0">
              <a:latin typeface="Arial"/>
              <a:ea typeface="+mn-ea"/>
              <a:cs typeface="Arial" pitchFamily="34" charset="0"/>
            </a:endParaRPr>
          </a:p>
          <a:p>
            <a:pPr marL="174159" indent="-174159" eaLnBrk="1" hangingPunct="1">
              <a:buFont typeface="Arial" pitchFamily="34" charset="0"/>
              <a:buChar char="•"/>
            </a:pPr>
            <a:r>
              <a:rPr lang="en-US" sz="1400" dirty="0"/>
              <a:t>Attackers themselves are becoming more organized.  They are structured just like any other business with a syndicated global management architecture that’s well equipped for global orchestration of the most sinister intent. They work 9 to 5. It’s a job.</a:t>
            </a:r>
          </a:p>
          <a:p>
            <a:pPr marL="174159" indent="-174159" eaLnBrk="1" hangingPunct="1">
              <a:buFont typeface="Arial" pitchFamily="34" charset="0"/>
              <a:buChar char="•"/>
            </a:pPr>
            <a:endParaRPr lang="en-US" sz="1400" dirty="0"/>
          </a:p>
          <a:p>
            <a:pPr marL="174159" indent="-174159" eaLnBrk="1" hangingPunct="1">
              <a:buFont typeface="Arial" pitchFamily="34" charset="0"/>
              <a:buChar char="•"/>
            </a:pPr>
            <a:r>
              <a:rPr lang="en-US" altLang="en-US" sz="2000" spc="-30" dirty="0">
                <a:latin typeface="Arial"/>
                <a:ea typeface="+mn-ea"/>
                <a:cs typeface="Arial" pitchFamily="34" charset="0"/>
              </a:rPr>
              <a:t>We know they are more organized because our researchers in Israel noticed that on Friday evening a whole bunch of malware gets launched. They launch on Friday because they want to take the weekend off. It’s a busines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1B7DD89-942D-491B-B694-28DD3C4A7C24}" type="slidenum">
              <a:rPr lang="en-US" smtClean="0"/>
              <a:pPr>
                <a:defRPr/>
              </a:pPr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6972705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03225" y="695325"/>
            <a:ext cx="6178550" cy="34766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00355" name="Notes Placeholder 2"/>
          <p:cNvSpPr>
            <a:spLocks noGrp="1"/>
          </p:cNvSpPr>
          <p:nvPr>
            <p:ph type="body" idx="1"/>
          </p:nvPr>
        </p:nvSpPr>
        <p:spPr bwMode="auto">
          <a:xfrm>
            <a:off x="634966" y="4785283"/>
            <a:ext cx="6457891" cy="5882901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dirty="0" smtClean="0">
                <a:solidFill>
                  <a:srgbClr val="C00000"/>
                </a:solidFill>
              </a:rPr>
              <a:t>&lt;</a:t>
            </a:r>
            <a:r>
              <a:rPr lang="en-US" sz="1600" dirty="0">
                <a:solidFill>
                  <a:srgbClr val="C00000"/>
                </a:solidFill>
              </a:rPr>
              <a:t>Stage Production: Spotlights scan the audience.&gt;</a:t>
            </a:r>
          </a:p>
          <a:p>
            <a:pPr eaLnBrk="1" hangingPunct="1"/>
            <a:endParaRPr lang="en-US" sz="1600" dirty="0"/>
          </a:p>
          <a:p>
            <a:pPr eaLnBrk="1" hangingPunct="1"/>
            <a:r>
              <a:rPr lang="en-US" sz="1600" b="1" dirty="0"/>
              <a:t>Everyone in this room is a target…</a:t>
            </a:r>
          </a:p>
          <a:p>
            <a:pPr eaLnBrk="1" hangingPunct="1"/>
            <a:endParaRPr lang="en-US" sz="1600" dirty="0"/>
          </a:p>
          <a:p>
            <a:pPr eaLnBrk="1" hangingPunct="1"/>
            <a:r>
              <a:rPr lang="en-US" sz="1600" dirty="0"/>
              <a:t>The net of this is, everyone in this room is a target. Your systems are at risk, your applications are vulnerable, your devices can be hacked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3DE74F4-E962-4A14-9892-DF8E8C4318A5}" type="slidenum">
              <a:rPr lang="en-US" smtClean="0"/>
              <a:pPr>
                <a:defRPr/>
              </a:pPr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03116033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36700" y="671513"/>
            <a:ext cx="3911600" cy="22018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D817518-FB06-4843-9B46-F72D174830EE}" type="slidenum">
              <a:rPr lang="en-US" smtClean="0"/>
              <a:pPr>
                <a:defRPr/>
              </a:pPr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1645532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/ Bulleted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2844800" y="1143000"/>
            <a:ext cx="8940800" cy="381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2844800" y="5943600"/>
            <a:ext cx="8940800" cy="1143000"/>
          </a:xfrm>
        </p:spPr>
        <p:txBody>
          <a:bodyPr>
            <a:noAutofit/>
          </a:bodyPr>
          <a:lstStyle>
            <a:lvl1pPr>
              <a:defRPr baseline="0"/>
            </a:lvl1pPr>
            <a:lvl2pPr>
              <a:defRPr baseline="0"/>
            </a:lvl2pPr>
            <a:lvl3pPr>
              <a:defRPr baseline="0"/>
            </a:lvl3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2844800" y="1600200"/>
            <a:ext cx="8940800" cy="381000"/>
          </a:xfrm>
        </p:spPr>
        <p:txBody>
          <a:bodyPr>
            <a:noAutofit/>
          </a:bodyPr>
          <a:lstStyle>
            <a:lvl1pPr marL="0">
              <a:lnSpc>
                <a:spcPts val="3571"/>
              </a:lnSpc>
              <a:defRPr sz="3600" baseline="0">
                <a:latin typeface="Lubalin Book for IBM"/>
                <a:cs typeface="Lubalin Book for IBM"/>
              </a:defRPr>
            </a:lvl1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3"/>
          </p:nvPr>
        </p:nvSpPr>
        <p:spPr>
          <a:xfrm>
            <a:off x="2844800" y="2057400"/>
            <a:ext cx="8940800" cy="3581400"/>
          </a:xfrm>
        </p:spPr>
        <p:txBody>
          <a:bodyPr rtlCol="0" anchor="ctr" anchorCtr="1">
            <a:noAutofit/>
          </a:bodyPr>
          <a:lstStyle>
            <a:lvl1pPr marL="290257">
              <a:lnSpc>
                <a:spcPts val="2286"/>
              </a:lnSpc>
              <a:defRPr sz="1700">
                <a:solidFill>
                  <a:srgbClr val="FFFFFF"/>
                </a:solidFill>
                <a:latin typeface="HelvNeue Roman for IBM"/>
                <a:cs typeface="HelvNeue Roman for IBM"/>
              </a:defRPr>
            </a:lvl1pPr>
          </a:lstStyle>
          <a:p>
            <a:pPr lvl="0"/>
            <a:r>
              <a:rPr lang="pt-BR" noProof="0" smtClean="0"/>
              <a:t>Clique no ícone para adicionar gráfic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xmlns="" val="4938666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2101" y="712471"/>
            <a:ext cx="13898880" cy="476250"/>
          </a:xfrm>
          <a:prstGeom prst="rect">
            <a:avLst/>
          </a:prstGeom>
        </p:spPr>
        <p:txBody>
          <a:bodyPr lIns="130622" tIns="65311" rIns="130622" bIns="65311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2101" y="2116457"/>
            <a:ext cx="13898880" cy="4558663"/>
          </a:xfrm>
          <a:prstGeom prst="rect">
            <a:avLst/>
          </a:prstGeom>
        </p:spPr>
        <p:txBody>
          <a:bodyPr lIns="130622" tIns="65311" rIns="130622" bIns="65311"/>
          <a:lstStyle>
            <a:lvl1pPr marL="326555" indent="-326555">
              <a:defRPr/>
            </a:lvl1pPr>
            <a:lvl2pPr marL="666717" indent="-312949">
              <a:tabLst>
                <a:tab pos="503439" algn="l"/>
              </a:tabLst>
              <a:defRPr baseline="0"/>
            </a:lvl2pPr>
            <a:lvl3pPr marL="966059" indent="-285736"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1320606" y="7807237"/>
            <a:ext cx="10684526" cy="258533"/>
          </a:xfrm>
          <a:prstGeom prst="rect">
            <a:avLst/>
          </a:prstGeom>
        </p:spPr>
        <p:txBody>
          <a:bodyPr lIns="130622" tIns="65311" rIns="130622" bIns="65311"/>
          <a:lstStyle/>
          <a:p>
            <a:r>
              <a:rPr lang="en-US" dirty="0" smtClean="0"/>
              <a:t>IBM Security Essentials and Maturity Consulting</a:t>
            </a:r>
          </a:p>
        </p:txBody>
      </p:sp>
    </p:spTree>
    <p:extLst>
      <p:ext uri="{BB962C8B-B14F-4D97-AF65-F5344CB8AC3E}">
        <p14:creationId xmlns:p14="http://schemas.microsoft.com/office/powerpoint/2010/main" xmlns="" val="25693282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5956" y="664367"/>
            <a:ext cx="13609320" cy="746760"/>
          </a:xfrm>
          <a:prstGeom prst="rect">
            <a:avLst/>
          </a:prstGeom>
        </p:spPr>
        <p:txBody>
          <a:bodyPr lIns="130622" tIns="65311" rIns="130622" bIns="65311"/>
          <a:lstStyle>
            <a:lvl1pPr algn="ctr">
              <a:defRPr sz="5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2099755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3611774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157"/>
          <p:cNvSpPr>
            <a:spLocks noChangeArrowheads="1"/>
          </p:cNvSpPr>
          <p:nvPr/>
        </p:nvSpPr>
        <p:spPr bwMode="auto">
          <a:xfrm>
            <a:off x="12143741" y="7846062"/>
            <a:ext cx="2194560" cy="265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55246" tIns="55246" rIns="55246" bIns="55246">
            <a:spAutoFit/>
          </a:bodyPr>
          <a:lstStyle/>
          <a:p>
            <a:pPr algn="r" defTabSz="731520"/>
            <a:r>
              <a:rPr lang="en-US" sz="1000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rPr>
              <a:t>© 2013 IBM Corporation</a:t>
            </a:r>
          </a:p>
        </p:txBody>
      </p:sp>
      <p:sp>
        <p:nvSpPr>
          <p:cNvPr id="158" name="Shape 158"/>
          <p:cNvSpPr>
            <a:spLocks noGrp="1"/>
          </p:cNvSpPr>
          <p:nvPr>
            <p:ph type="title"/>
          </p:nvPr>
        </p:nvSpPr>
        <p:spPr>
          <a:xfrm>
            <a:off x="833120" y="2350774"/>
            <a:ext cx="5417821" cy="5878827"/>
          </a:xfrm>
          <a:prstGeom prst="rect">
            <a:avLst/>
          </a:prstGeom>
        </p:spPr>
        <p:txBody>
          <a:bodyPr lIns="146304" tIns="73152" rIns="146304" bIns="73152">
            <a:noAutofit/>
          </a:bodyPr>
          <a:lstStyle>
            <a:lvl1pPr>
              <a:defRPr sz="4200"/>
            </a:lvl1pPr>
          </a:lstStyle>
          <a:p>
            <a:pPr lvl="0"/>
            <a:r>
              <a:rPr/>
              <a:t>Title Text</a:t>
            </a:r>
          </a:p>
        </p:txBody>
      </p:sp>
    </p:spTree>
    <p:extLst>
      <p:ext uri="{BB962C8B-B14F-4D97-AF65-F5344CB8AC3E}">
        <p14:creationId xmlns:p14="http://schemas.microsoft.com/office/powerpoint/2010/main" xmlns="" val="220085505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 copy 2">
    <p:bg>
      <p:bgPr>
        <a:solidFill>
          <a:srgbClr val="EEF2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63493372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2101" y="712471"/>
            <a:ext cx="13896338" cy="476250"/>
          </a:xfrm>
          <a:prstGeom prst="rect">
            <a:avLst/>
          </a:prstGeom>
        </p:spPr>
        <p:txBody>
          <a:bodyPr lIns="130622" tIns="65311" rIns="130622" bIns="65311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1320606" y="7807237"/>
            <a:ext cx="10684526" cy="258533"/>
          </a:xfrm>
          <a:prstGeom prst="rect">
            <a:avLst/>
          </a:prstGeom>
        </p:spPr>
        <p:txBody>
          <a:bodyPr lIns="130622" tIns="65311" rIns="130622" bIns="65311"/>
          <a:lstStyle/>
          <a:p>
            <a:r>
              <a:rPr lang="en-US" dirty="0" smtClean="0"/>
              <a:t>IBM Security Essentials and Maturity Consulting</a:t>
            </a:r>
          </a:p>
        </p:txBody>
      </p:sp>
    </p:spTree>
    <p:extLst>
      <p:ext uri="{BB962C8B-B14F-4D97-AF65-F5344CB8AC3E}">
        <p14:creationId xmlns:p14="http://schemas.microsoft.com/office/powerpoint/2010/main" xmlns="" val="2021189080"/>
      </p:ext>
    </p:extLst>
  </p:cSld>
  <p:clrMapOvr>
    <a:masterClrMapping/>
  </p:clrMapOvr>
  <p:hf sldNum="0"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2101" y="712471"/>
            <a:ext cx="13898880" cy="476250"/>
          </a:xfrm>
          <a:prstGeom prst="rect">
            <a:avLst/>
          </a:prstGeom>
        </p:spPr>
        <p:txBody>
          <a:bodyPr lIns="130622" tIns="65311" rIns="130622" bIns="65311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2101" y="2116457"/>
            <a:ext cx="13898880" cy="4558663"/>
          </a:xfrm>
          <a:prstGeom prst="rect">
            <a:avLst/>
          </a:prstGeom>
        </p:spPr>
        <p:txBody>
          <a:bodyPr lIns="130622" tIns="65311" rIns="130622" bIns="65311"/>
          <a:lstStyle>
            <a:lvl1pPr marL="326555" indent="-326555">
              <a:defRPr/>
            </a:lvl1pPr>
            <a:lvl2pPr marL="666717" indent="-312949">
              <a:tabLst>
                <a:tab pos="503439" algn="l"/>
              </a:tabLst>
              <a:defRPr baseline="0"/>
            </a:lvl2pPr>
            <a:lvl3pPr marL="966059" indent="-285736">
              <a:defRPr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1320606" y="7807237"/>
            <a:ext cx="10684526" cy="258533"/>
          </a:xfrm>
          <a:prstGeom prst="rect">
            <a:avLst/>
          </a:prstGeom>
        </p:spPr>
        <p:txBody>
          <a:bodyPr lIns="130622" tIns="65311" rIns="130622" bIns="65311"/>
          <a:lstStyle/>
          <a:p>
            <a:r>
              <a:rPr lang="en-US" dirty="0" smtClean="0"/>
              <a:t>IBM Security Essentials and Maturity Consulting</a:t>
            </a:r>
          </a:p>
        </p:txBody>
      </p:sp>
    </p:spTree>
    <p:extLst>
      <p:ext uri="{BB962C8B-B14F-4D97-AF65-F5344CB8AC3E}">
        <p14:creationId xmlns:p14="http://schemas.microsoft.com/office/powerpoint/2010/main" xmlns="" val="25693282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5956" y="664367"/>
            <a:ext cx="13609320" cy="746760"/>
          </a:xfrm>
          <a:prstGeom prst="rect">
            <a:avLst/>
          </a:prstGeom>
        </p:spPr>
        <p:txBody>
          <a:bodyPr lIns="130622" tIns="65311" rIns="130622" bIns="65311"/>
          <a:lstStyle>
            <a:lvl1pPr algn="ctr">
              <a:defRPr sz="51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2099755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/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2844800" y="1143000"/>
            <a:ext cx="8940800" cy="3810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pt-BR" smtClean="0"/>
              <a:t>Clique para editar o título mestre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2844800" y="1600200"/>
            <a:ext cx="8940800" cy="381000"/>
          </a:xfrm>
        </p:spPr>
        <p:txBody>
          <a:bodyPr>
            <a:noAutofit/>
          </a:bodyPr>
          <a:lstStyle>
            <a:lvl1pPr marL="0">
              <a:lnSpc>
                <a:spcPts val="3571"/>
              </a:lnSpc>
              <a:defRPr sz="3600" baseline="0">
                <a:latin typeface="Lubalin Book for IBM"/>
                <a:cs typeface="Lubalin Book for IBM"/>
              </a:defRPr>
            </a:lvl1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3"/>
          </p:nvPr>
        </p:nvSpPr>
        <p:spPr>
          <a:xfrm>
            <a:off x="2844800" y="2057400"/>
            <a:ext cx="8940800" cy="3581400"/>
          </a:xfrm>
        </p:spPr>
        <p:txBody>
          <a:bodyPr rtlCol="0" anchor="ctr" anchorCtr="1">
            <a:noAutofit/>
          </a:bodyPr>
          <a:lstStyle>
            <a:lvl1pPr marL="290257">
              <a:lnSpc>
                <a:spcPts val="2286"/>
              </a:lnSpc>
              <a:defRPr sz="1700">
                <a:solidFill>
                  <a:srgbClr val="FFFFFF"/>
                </a:solidFill>
                <a:latin typeface="HelvNeue Roman for IBM"/>
                <a:cs typeface="HelvNeue Roman for IBM"/>
              </a:defRPr>
            </a:lvl1pPr>
          </a:lstStyle>
          <a:p>
            <a:pPr lvl="0"/>
            <a:r>
              <a:rPr lang="pt-BR" noProof="0" smtClean="0"/>
              <a:t>Clique no ícone para adicionar gráfico</a:t>
            </a:r>
            <a:endParaRPr lang="en-US" noProof="0" dirty="0"/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2844800" y="5943600"/>
            <a:ext cx="8940800" cy="1143000"/>
          </a:xfrm>
        </p:spPr>
        <p:txBody>
          <a:bodyPr>
            <a:noAutofit/>
          </a:bodyPr>
          <a:lstStyle>
            <a:lvl1pPr marL="0">
              <a:lnSpc>
                <a:spcPts val="2000"/>
              </a:lnSpc>
              <a:spcBef>
                <a:spcPts val="2000"/>
              </a:spcBef>
              <a:defRPr sz="1400" baseline="0">
                <a:solidFill>
                  <a:srgbClr val="FFFFFF"/>
                </a:solidFill>
                <a:latin typeface="HelvNeue Roman for IBM"/>
                <a:cs typeface="HelvNeue Roman for IBM"/>
              </a:defRPr>
            </a:lvl1pPr>
            <a:lvl2pPr>
              <a:lnSpc>
                <a:spcPts val="2000"/>
              </a:lnSpc>
              <a:spcBef>
                <a:spcPts val="571"/>
              </a:spcBef>
              <a:defRPr sz="1400" baseline="0">
                <a:latin typeface="HelvNeue Roman for IBM"/>
                <a:cs typeface="HelvNeue Roman for IBM"/>
              </a:defRPr>
            </a:lvl2pPr>
            <a:lvl3pPr marL="435385" indent="-217692">
              <a:lnSpc>
                <a:spcPts val="2000"/>
              </a:lnSpc>
              <a:buFont typeface="Arial"/>
              <a:buChar char="•"/>
              <a:defRPr sz="1400" baseline="0"/>
            </a:lvl3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</p:txBody>
      </p:sp>
    </p:spTree>
    <p:extLst>
      <p:ext uri="{BB962C8B-B14F-4D97-AF65-F5344CB8AC3E}">
        <p14:creationId xmlns:p14="http://schemas.microsoft.com/office/powerpoint/2010/main" xmlns="" val="5178994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41546004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ix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42919732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 copy 2">
    <p:bg>
      <p:bgPr>
        <a:solidFill>
          <a:srgbClr val="EEF2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63493372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4138" y="7772400"/>
            <a:ext cx="2079625" cy="282575"/>
          </a:xfrm>
          <a:prstGeom prst="rect">
            <a:avLst/>
          </a:prstGeom>
        </p:spPr>
        <p:txBody>
          <a:bodyPr/>
          <a:lstStyle>
            <a:lvl1pPr defTabSz="914400" eaLnBrk="0" hangingPunct="0">
              <a:defRPr/>
            </a:lvl1pPr>
          </a:lstStyle>
          <a:p>
            <a:fld id="{FF7BD0FC-927D-48FB-A32E-123921A5A5C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xmlns="" val="15449693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Shape 158"/>
          <p:cNvSpPr>
            <a:spLocks noGrp="1"/>
          </p:cNvSpPr>
          <p:nvPr>
            <p:ph type="title"/>
          </p:nvPr>
        </p:nvSpPr>
        <p:spPr>
          <a:xfrm>
            <a:off x="833120" y="2350774"/>
            <a:ext cx="5417821" cy="5878827"/>
          </a:xfrm>
          <a:prstGeom prst="rect">
            <a:avLst/>
          </a:prstGeom>
        </p:spPr>
        <p:txBody>
          <a:bodyPr lIns="146304" tIns="73152" rIns="146304" bIns="73152">
            <a:noAutofit/>
          </a:bodyPr>
          <a:lstStyle>
            <a:lvl1pPr>
              <a:defRPr sz="4200"/>
            </a:lvl1pPr>
          </a:lstStyle>
          <a:p>
            <a:pPr lvl="0"/>
            <a:r>
              <a:rPr/>
              <a:t>Title Text</a:t>
            </a:r>
          </a:p>
        </p:txBody>
      </p:sp>
    </p:spTree>
    <p:extLst>
      <p:ext uri="{BB962C8B-B14F-4D97-AF65-F5344CB8AC3E}">
        <p14:creationId xmlns:p14="http://schemas.microsoft.com/office/powerpoint/2010/main" xmlns="" val="220085505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 copy 2">
    <p:bg>
      <p:bgPr>
        <a:solidFill>
          <a:srgbClr val="EEF2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63493372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2101" y="712471"/>
            <a:ext cx="13896338" cy="476250"/>
          </a:xfrm>
          <a:prstGeom prst="rect">
            <a:avLst/>
          </a:prstGeom>
        </p:spPr>
        <p:txBody>
          <a:bodyPr lIns="130622" tIns="65311" rIns="130622" bIns="65311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1320606" y="7807237"/>
            <a:ext cx="10684526" cy="258533"/>
          </a:xfrm>
          <a:prstGeom prst="rect">
            <a:avLst/>
          </a:prstGeom>
        </p:spPr>
        <p:txBody>
          <a:bodyPr lIns="130622" tIns="65311" rIns="130622" bIns="65311"/>
          <a:lstStyle/>
          <a:p>
            <a:r>
              <a:rPr lang="en-US" dirty="0" smtClean="0"/>
              <a:t>IBM Security Essentials and Maturity Consulting</a:t>
            </a:r>
          </a:p>
        </p:txBody>
      </p:sp>
    </p:spTree>
    <p:extLst>
      <p:ext uri="{BB962C8B-B14F-4D97-AF65-F5344CB8AC3E}">
        <p14:creationId xmlns:p14="http://schemas.microsoft.com/office/powerpoint/2010/main" xmlns="" val="2021189080"/>
      </p:ext>
    </p:extLst>
  </p:cSld>
  <p:clrMapOvr>
    <a:masterClrMapping/>
  </p:clrMapOvr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193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TextBox 7"/>
          <p:cNvSpPr txBox="1">
            <a:spLocks/>
          </p:cNvSpPr>
          <p:nvPr/>
        </p:nvSpPr>
        <p:spPr bwMode="auto">
          <a:xfrm>
            <a:off x="508000" y="7451725"/>
            <a:ext cx="508000" cy="381000"/>
          </a:xfrm>
          <a:prstGeom prst="rect">
            <a:avLst/>
          </a:prstGeom>
          <a:solidFill>
            <a:srgbClr val="00B2EF"/>
          </a:solidFill>
          <a:ln>
            <a:noFill/>
          </a:ln>
          <a:extLst/>
        </p:spPr>
        <p:txBody>
          <a:bodyPr lIns="0" tIns="0" rIns="0" bIns="0" anchor="ctr" anchorCtr="1"/>
          <a:lstStyle>
            <a:lvl1pPr defTabSz="65246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65246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65246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65246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65246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65246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65246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65246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65246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fld id="{F51D400B-9598-4A07-8EAB-1EA443907504}" type="slidenum">
              <a:rPr lang="en-US" altLang="en-US" sz="1300">
                <a:solidFill>
                  <a:srgbClr val="FFFFFF"/>
                </a:solidFill>
                <a:latin typeface="Lubalin Demi for IBM" pitchFamily="1" charset="0"/>
                <a:cs typeface="Arial" pitchFamily="34" charset="0"/>
              </a:rPr>
              <a:pPr algn="ctr" eaLnBrk="1" hangingPunct="1"/>
              <a:t>‹#›</a:t>
            </a:fld>
            <a:endParaRPr lang="en-US" altLang="en-US" sz="1300">
              <a:solidFill>
                <a:srgbClr val="FFFFFF"/>
              </a:solidFill>
              <a:latin typeface="Lubalin Demi for IBM" pitchFamily="1" charset="0"/>
              <a:cs typeface="Arial" pitchFamily="34" charset="0"/>
            </a:endParaRPr>
          </a:p>
        </p:txBody>
      </p:sp>
      <p:pic>
        <p:nvPicPr>
          <p:cNvPr id="58372" name="Picture 8" descr="IBM Interactive footer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19200" y="7451725"/>
            <a:ext cx="927100" cy="417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8373" name="Title Placeholder 1"/>
          <p:cNvSpPr>
            <a:spLocks noGrp="1"/>
          </p:cNvSpPr>
          <p:nvPr>
            <p:ph type="title"/>
          </p:nvPr>
        </p:nvSpPr>
        <p:spPr bwMode="auto">
          <a:xfrm>
            <a:off x="508000" y="2286000"/>
            <a:ext cx="89408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altLang="en-US" smtClean="0"/>
          </a:p>
        </p:txBody>
      </p:sp>
      <p:sp>
        <p:nvSpPr>
          <p:cNvPr id="5837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08000" y="3429000"/>
            <a:ext cx="4297363" cy="320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Bullet Header Text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</p:txBody>
      </p:sp>
      <p:pic>
        <p:nvPicPr>
          <p:cNvPr id="8" name="Picture 8" descr="IBM_100412-01.png"/>
          <p:cNvPicPr preferRelativeResize="0"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3117513" y="7479621"/>
            <a:ext cx="760412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txStyles>
    <p:titleStyle>
      <a:lvl1pPr algn="l" defTabSz="649288" rtl="0" eaLnBrk="0" fontAlgn="base" hangingPunct="0">
        <a:spcBef>
          <a:spcPct val="0"/>
        </a:spcBef>
        <a:spcAft>
          <a:spcPct val="0"/>
        </a:spcAft>
        <a:defRPr sz="3600" kern="1200">
          <a:solidFill>
            <a:schemeClr val="bg1"/>
          </a:solidFill>
          <a:latin typeface="Lubalin Demi for IBM"/>
          <a:ea typeface="ＭＳ Ｐゴシック" charset="0"/>
          <a:cs typeface="Lubalin Demi for IBM"/>
        </a:defRPr>
      </a:lvl1pPr>
      <a:lvl2pPr algn="l" defTabSz="649288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Lubalin Demi for IBM"/>
          <a:ea typeface="ＭＳ Ｐゴシック" charset="0"/>
          <a:cs typeface="Lubalin Demi for IBM"/>
        </a:defRPr>
      </a:lvl2pPr>
      <a:lvl3pPr algn="l" defTabSz="649288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Lubalin Demi for IBM"/>
          <a:ea typeface="ＭＳ Ｐゴシック" charset="0"/>
          <a:cs typeface="Lubalin Demi for IBM"/>
        </a:defRPr>
      </a:lvl3pPr>
      <a:lvl4pPr algn="l" defTabSz="649288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Lubalin Demi for IBM"/>
          <a:ea typeface="ＭＳ Ｐゴシック" charset="0"/>
          <a:cs typeface="Lubalin Demi for IBM"/>
        </a:defRPr>
      </a:lvl4pPr>
      <a:lvl5pPr algn="l" defTabSz="649288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Lubalin Demi for IBM"/>
          <a:ea typeface="ＭＳ Ｐゴシック" charset="0"/>
          <a:cs typeface="Lubalin Demi for IBM"/>
        </a:defRPr>
      </a:lvl5pPr>
      <a:lvl6pPr marL="652946" algn="l" defTabSz="652946" rtl="0" fontAlgn="base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Lubalin Demi for IBM"/>
          <a:ea typeface="Lubalin Demi for IBM"/>
          <a:cs typeface="Lubalin Demi for IBM"/>
        </a:defRPr>
      </a:lvl6pPr>
      <a:lvl7pPr marL="1305895" algn="l" defTabSz="652946" rtl="0" fontAlgn="base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Lubalin Demi for IBM"/>
          <a:ea typeface="Lubalin Demi for IBM"/>
          <a:cs typeface="Lubalin Demi for IBM"/>
        </a:defRPr>
      </a:lvl7pPr>
      <a:lvl8pPr marL="1958843" algn="l" defTabSz="652946" rtl="0" fontAlgn="base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Lubalin Demi for IBM"/>
          <a:ea typeface="Lubalin Demi for IBM"/>
          <a:cs typeface="Lubalin Demi for IBM"/>
        </a:defRPr>
      </a:lvl8pPr>
      <a:lvl9pPr marL="2611791" algn="l" defTabSz="652946" rtl="0" fontAlgn="base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Lubalin Demi for IBM"/>
          <a:ea typeface="Lubalin Demi for IBM"/>
          <a:cs typeface="Lubalin Demi for IBM"/>
        </a:defRPr>
      </a:lvl9pPr>
    </p:titleStyle>
    <p:bodyStyle>
      <a:lvl1pPr marL="214313" indent="-214313" algn="l" defTabSz="649288" rtl="0" eaLnBrk="0" fontAlgn="base" hangingPunct="0">
        <a:lnSpc>
          <a:spcPts val="1713"/>
        </a:lnSpc>
        <a:spcBef>
          <a:spcPct val="0"/>
        </a:spcBef>
        <a:spcAft>
          <a:spcPct val="0"/>
        </a:spcAft>
        <a:buClr>
          <a:srgbClr val="00B2EF"/>
        </a:buClr>
        <a:buFont typeface="Wingdings" pitchFamily="2" charset="2"/>
        <a:defRPr sz="1400" kern="1200">
          <a:solidFill>
            <a:srgbClr val="00B2EF"/>
          </a:solidFill>
          <a:latin typeface="Lubalin Demi for IBM"/>
          <a:ea typeface="ＭＳ Ｐゴシック" charset="0"/>
          <a:cs typeface="Lubalin Demi for IBM"/>
        </a:defRPr>
      </a:lvl1pPr>
      <a:lvl2pPr marL="214313" indent="-214313" algn="l" defTabSz="649288" rtl="0" eaLnBrk="0" fontAlgn="base" hangingPunct="0">
        <a:lnSpc>
          <a:spcPts val="1713"/>
        </a:lnSpc>
        <a:spcBef>
          <a:spcPts val="863"/>
        </a:spcBef>
        <a:spcAft>
          <a:spcPct val="0"/>
        </a:spcAft>
        <a:buClr>
          <a:srgbClr val="00B2EF"/>
        </a:buClr>
        <a:buSzPct val="100000"/>
        <a:buFont typeface="Wingdings" pitchFamily="2" charset="2"/>
        <a:buChar char="§"/>
        <a:defRPr sz="1400" kern="1200">
          <a:solidFill>
            <a:srgbClr val="FFFFFF"/>
          </a:solidFill>
          <a:latin typeface="Lubalin Book for IBM"/>
          <a:ea typeface="ＭＳ Ｐゴシック" charset="0"/>
          <a:cs typeface="Lubalin Book for IBM"/>
        </a:defRPr>
      </a:lvl2pPr>
      <a:lvl3pPr marL="214313" indent="696913" algn="l" defTabSz="649288" rtl="0" eaLnBrk="0" fontAlgn="base" hangingPunct="0">
        <a:lnSpc>
          <a:spcPts val="1713"/>
        </a:lnSpc>
        <a:spcBef>
          <a:spcPct val="0"/>
        </a:spcBef>
        <a:spcAft>
          <a:spcPct val="0"/>
        </a:spcAft>
        <a:buFont typeface="Arial" pitchFamily="34" charset="0"/>
        <a:defRPr sz="1300" kern="1200">
          <a:solidFill>
            <a:srgbClr val="FFFFFF"/>
          </a:solidFill>
          <a:latin typeface="HelvNeue Roman for IBM"/>
          <a:ea typeface="ＭＳ Ｐゴシック" charset="0"/>
          <a:cs typeface="HelvNeue Roman for IBM"/>
        </a:defRPr>
      </a:lvl3pPr>
      <a:lvl4pPr marL="2281238" indent="-322263" algn="l" defTabSz="649288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900" kern="1200">
          <a:solidFill>
            <a:schemeClr val="tx1"/>
          </a:solidFill>
          <a:latin typeface="+mn-lt"/>
          <a:ea typeface="HelvNeue Roman for IBM"/>
          <a:cs typeface="HelvNeue Roman for IBM"/>
        </a:defRPr>
      </a:lvl4pPr>
      <a:lvl5pPr marL="2935288" indent="-322263" algn="l" defTabSz="649288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900" kern="1200">
          <a:solidFill>
            <a:schemeClr val="tx1"/>
          </a:solidFill>
          <a:latin typeface="+mn-lt"/>
          <a:ea typeface="HelvNeue Roman for IBM"/>
          <a:cs typeface="HelvNeue Roman for IBM"/>
        </a:defRPr>
      </a:lvl5pPr>
      <a:lvl6pPr marL="3591206" indent="-326472" algn="l" defTabSz="652946" rtl="0" eaLnBrk="1" latinLnBrk="0" hangingPunct="1">
        <a:spcBef>
          <a:spcPct val="20000"/>
        </a:spcBef>
        <a:buFont typeface="Arial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244153" indent="-326472" algn="l" defTabSz="652946" rtl="0" eaLnBrk="1" latinLnBrk="0" hangingPunct="1">
        <a:spcBef>
          <a:spcPct val="20000"/>
        </a:spcBef>
        <a:buFont typeface="Arial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4897102" indent="-326472" algn="l" defTabSz="652946" rtl="0" eaLnBrk="1" latinLnBrk="0" hangingPunct="1">
        <a:spcBef>
          <a:spcPct val="20000"/>
        </a:spcBef>
        <a:buFont typeface="Arial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550050" indent="-326472" algn="l" defTabSz="652946" rtl="0" eaLnBrk="1" latinLnBrk="0" hangingPunct="1">
        <a:spcBef>
          <a:spcPct val="20000"/>
        </a:spcBef>
        <a:buFont typeface="Arial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294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52946" algn="l" defTabSz="65294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305895" algn="l" defTabSz="65294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58843" algn="l" defTabSz="65294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11791" algn="l" defTabSz="65294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64735" algn="l" defTabSz="65294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917683" algn="l" defTabSz="65294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70629" algn="l" defTabSz="65294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223575" algn="l" defTabSz="65294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193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TextBox 7"/>
          <p:cNvSpPr txBox="1">
            <a:spLocks/>
          </p:cNvSpPr>
          <p:nvPr/>
        </p:nvSpPr>
        <p:spPr bwMode="auto">
          <a:xfrm>
            <a:off x="508000" y="7451725"/>
            <a:ext cx="508000" cy="381000"/>
          </a:xfrm>
          <a:prstGeom prst="rect">
            <a:avLst/>
          </a:prstGeom>
          <a:solidFill>
            <a:srgbClr val="00B2EF"/>
          </a:solidFill>
          <a:ln>
            <a:noFill/>
          </a:ln>
          <a:extLst/>
        </p:spPr>
        <p:txBody>
          <a:bodyPr lIns="0" tIns="0" rIns="0" bIns="0" anchor="ctr" anchorCtr="1"/>
          <a:lstStyle>
            <a:lvl1pPr defTabSz="65246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65246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65246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65246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65246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65246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65246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65246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65246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fld id="{2E08479D-57D1-4B3B-8C68-D039FBC7E35C}" type="slidenum">
              <a:rPr lang="en-US" altLang="en-US" sz="1300" smtClean="0">
                <a:solidFill>
                  <a:srgbClr val="FFFFFF"/>
                </a:solidFill>
                <a:latin typeface="Lubalin Demi for IBM" pitchFamily="1" charset="0"/>
                <a:cs typeface="Arial" pitchFamily="34" charset="0"/>
              </a:rPr>
              <a:pPr algn="ctr" eaLnBrk="1" hangingPunct="1">
                <a:defRPr/>
              </a:pPr>
              <a:t>‹#›</a:t>
            </a:fld>
            <a:endParaRPr lang="en-US" altLang="en-US" sz="1300" smtClean="0">
              <a:solidFill>
                <a:srgbClr val="FFFFFF"/>
              </a:solidFill>
              <a:latin typeface="Lubalin Demi for IBM" pitchFamily="1" charset="0"/>
              <a:cs typeface="Arial" pitchFamily="34" charset="0"/>
            </a:endParaRPr>
          </a:p>
        </p:txBody>
      </p:sp>
      <p:pic>
        <p:nvPicPr>
          <p:cNvPr id="12291" name="Picture 8" descr="IBM Interactive footer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19200" y="7451725"/>
            <a:ext cx="927100" cy="417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92" name="Title Placeholder 1"/>
          <p:cNvSpPr>
            <a:spLocks noGrp="1"/>
          </p:cNvSpPr>
          <p:nvPr>
            <p:ph type="title"/>
          </p:nvPr>
        </p:nvSpPr>
        <p:spPr bwMode="auto">
          <a:xfrm>
            <a:off x="508000" y="2286000"/>
            <a:ext cx="89408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altLang="en-US" smtClean="0"/>
          </a:p>
        </p:txBody>
      </p:sp>
      <p:sp>
        <p:nvSpPr>
          <p:cNvPr id="1229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08000" y="3429000"/>
            <a:ext cx="4297363" cy="320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Bullet Header Text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</p:txBody>
      </p:sp>
      <p:pic>
        <p:nvPicPr>
          <p:cNvPr id="12294" name="Picture 8" descr="IBM logo.png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3520738" y="7602538"/>
            <a:ext cx="588962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7331827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760" r:id="rId1"/>
    <p:sldLayoutId id="2147488761" r:id="rId2"/>
    <p:sldLayoutId id="2147488762" r:id="rId3"/>
    <p:sldLayoutId id="2147488763" r:id="rId4"/>
    <p:sldLayoutId id="2147488788" r:id="rId5"/>
  </p:sldLayoutIdLst>
  <p:txStyles>
    <p:titleStyle>
      <a:lvl1pPr algn="l" defTabSz="650875" rtl="0" eaLnBrk="0" fontAlgn="base" hangingPunct="0">
        <a:spcBef>
          <a:spcPct val="0"/>
        </a:spcBef>
        <a:spcAft>
          <a:spcPct val="0"/>
        </a:spcAft>
        <a:defRPr sz="3600" kern="1200">
          <a:solidFill>
            <a:schemeClr val="bg1"/>
          </a:solidFill>
          <a:latin typeface="Lubalin Demi for IBM"/>
          <a:ea typeface="ＭＳ Ｐゴシック" charset="0"/>
          <a:cs typeface="Lubalin Demi for IBM"/>
        </a:defRPr>
      </a:lvl1pPr>
      <a:lvl2pPr algn="l" defTabSz="650875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Lubalin Demi for IBM"/>
          <a:ea typeface="ＭＳ Ｐゴシック" charset="0"/>
          <a:cs typeface="Lubalin Demi for IBM"/>
        </a:defRPr>
      </a:lvl2pPr>
      <a:lvl3pPr algn="l" defTabSz="650875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Lubalin Demi for IBM"/>
          <a:ea typeface="ＭＳ Ｐゴシック" charset="0"/>
          <a:cs typeface="Lubalin Demi for IBM"/>
        </a:defRPr>
      </a:lvl3pPr>
      <a:lvl4pPr algn="l" defTabSz="650875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Lubalin Demi for IBM"/>
          <a:ea typeface="ＭＳ Ｐゴシック" charset="0"/>
          <a:cs typeface="Lubalin Demi for IBM"/>
        </a:defRPr>
      </a:lvl4pPr>
      <a:lvl5pPr algn="l" defTabSz="650875" rtl="0" eaLnBrk="0" fontAlgn="base" hangingPunct="0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Lubalin Demi for IBM"/>
          <a:ea typeface="ＭＳ Ｐゴシック" charset="0"/>
          <a:cs typeface="Lubalin Demi for IBM"/>
        </a:defRPr>
      </a:lvl5pPr>
      <a:lvl6pPr marL="653077" algn="l" defTabSz="653077" rtl="0" fontAlgn="base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Lubalin Demi for IBM"/>
          <a:ea typeface="Lubalin Demi for IBM"/>
          <a:cs typeface="Lubalin Demi for IBM"/>
        </a:defRPr>
      </a:lvl6pPr>
      <a:lvl7pPr marL="1306155" algn="l" defTabSz="653077" rtl="0" fontAlgn="base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Lubalin Demi for IBM"/>
          <a:ea typeface="Lubalin Demi for IBM"/>
          <a:cs typeface="Lubalin Demi for IBM"/>
        </a:defRPr>
      </a:lvl7pPr>
      <a:lvl8pPr marL="1959233" algn="l" defTabSz="653077" rtl="0" fontAlgn="base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Lubalin Demi for IBM"/>
          <a:ea typeface="Lubalin Demi for IBM"/>
          <a:cs typeface="Lubalin Demi for IBM"/>
        </a:defRPr>
      </a:lvl8pPr>
      <a:lvl9pPr marL="2612311" algn="l" defTabSz="653077" rtl="0" fontAlgn="base">
        <a:spcBef>
          <a:spcPct val="0"/>
        </a:spcBef>
        <a:spcAft>
          <a:spcPct val="0"/>
        </a:spcAft>
        <a:defRPr sz="3600">
          <a:solidFill>
            <a:schemeClr val="bg1"/>
          </a:solidFill>
          <a:latin typeface="Lubalin Demi for IBM"/>
          <a:ea typeface="Lubalin Demi for IBM"/>
          <a:cs typeface="Lubalin Demi for IBM"/>
        </a:defRPr>
      </a:lvl9pPr>
    </p:titleStyle>
    <p:bodyStyle>
      <a:lvl1pPr marL="215900" indent="-215900" algn="l" defTabSz="650875" rtl="0" eaLnBrk="0" fontAlgn="base" hangingPunct="0">
        <a:lnSpc>
          <a:spcPts val="1713"/>
        </a:lnSpc>
        <a:spcBef>
          <a:spcPct val="0"/>
        </a:spcBef>
        <a:spcAft>
          <a:spcPct val="0"/>
        </a:spcAft>
        <a:buClr>
          <a:srgbClr val="00B2EF"/>
        </a:buClr>
        <a:buFont typeface="Wingdings" pitchFamily="2" charset="2"/>
        <a:defRPr sz="1400" kern="1200">
          <a:solidFill>
            <a:srgbClr val="00B2EF"/>
          </a:solidFill>
          <a:latin typeface="Lubalin Demi for IBM"/>
          <a:ea typeface="ＭＳ Ｐゴシック" charset="0"/>
          <a:cs typeface="Lubalin Demi for IBM"/>
        </a:defRPr>
      </a:lvl1pPr>
      <a:lvl2pPr marL="215900" indent="-215900" algn="l" defTabSz="650875" rtl="0" eaLnBrk="0" fontAlgn="base" hangingPunct="0">
        <a:lnSpc>
          <a:spcPts val="1713"/>
        </a:lnSpc>
        <a:spcBef>
          <a:spcPts val="863"/>
        </a:spcBef>
        <a:spcAft>
          <a:spcPct val="0"/>
        </a:spcAft>
        <a:buClr>
          <a:srgbClr val="00B2EF"/>
        </a:buClr>
        <a:buSzPct val="100000"/>
        <a:buFont typeface="Wingdings" pitchFamily="2" charset="2"/>
        <a:buChar char="§"/>
        <a:defRPr sz="1400" kern="1200">
          <a:solidFill>
            <a:srgbClr val="FFFFFF"/>
          </a:solidFill>
          <a:latin typeface="Lubalin Book for IBM"/>
          <a:ea typeface="ＭＳ Ｐゴシック" charset="0"/>
          <a:cs typeface="Lubalin Book for IBM"/>
        </a:defRPr>
      </a:lvl2pPr>
      <a:lvl3pPr marL="215900" indent="1085850" algn="l" defTabSz="650875" rtl="0" eaLnBrk="0" fontAlgn="base" hangingPunct="0">
        <a:lnSpc>
          <a:spcPts val="1713"/>
        </a:lnSpc>
        <a:spcBef>
          <a:spcPct val="0"/>
        </a:spcBef>
        <a:spcAft>
          <a:spcPct val="0"/>
        </a:spcAft>
        <a:buFont typeface="Arial" pitchFamily="34" charset="0"/>
        <a:defRPr sz="1300" kern="1200">
          <a:solidFill>
            <a:srgbClr val="FFFFFF"/>
          </a:solidFill>
          <a:latin typeface="HelvNeue Roman for IBM"/>
          <a:ea typeface="ＭＳ Ｐゴシック" charset="0"/>
          <a:cs typeface="HelvNeue Roman for IBM"/>
        </a:defRPr>
      </a:lvl3pPr>
      <a:lvl4pPr marL="2282825" indent="-323850" algn="l" defTabSz="65087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900" kern="1200">
          <a:solidFill>
            <a:schemeClr val="tx1"/>
          </a:solidFill>
          <a:latin typeface="+mn-lt"/>
          <a:ea typeface="HelvNeue Roman for IBM"/>
          <a:cs typeface="HelvNeue Roman for IBM"/>
        </a:defRPr>
      </a:lvl4pPr>
      <a:lvl5pPr marL="2936875" indent="-323850" algn="l" defTabSz="650875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900" kern="1200">
          <a:solidFill>
            <a:schemeClr val="tx1"/>
          </a:solidFill>
          <a:latin typeface="+mn-lt"/>
          <a:ea typeface="HelvNeue Roman for IBM"/>
          <a:cs typeface="HelvNeue Roman for IBM"/>
        </a:defRPr>
      </a:lvl5pPr>
      <a:lvl6pPr marL="3591926" indent="-326539" algn="l" defTabSz="653077" rtl="0" eaLnBrk="1" latinLnBrk="0" hangingPunct="1">
        <a:spcBef>
          <a:spcPct val="20000"/>
        </a:spcBef>
        <a:buFont typeface="Arial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245003" indent="-326539" algn="l" defTabSz="653077" rtl="0" eaLnBrk="1" latinLnBrk="0" hangingPunct="1">
        <a:spcBef>
          <a:spcPct val="20000"/>
        </a:spcBef>
        <a:buFont typeface="Arial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4898082" indent="-326539" algn="l" defTabSz="653077" rtl="0" eaLnBrk="1" latinLnBrk="0" hangingPunct="1">
        <a:spcBef>
          <a:spcPct val="20000"/>
        </a:spcBef>
        <a:buFont typeface="Arial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551160" indent="-326539" algn="l" defTabSz="653077" rtl="0" eaLnBrk="1" latinLnBrk="0" hangingPunct="1">
        <a:spcBef>
          <a:spcPct val="20000"/>
        </a:spcBef>
        <a:buFont typeface="Arial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5307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53077" algn="l" defTabSz="65307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306155" algn="l" defTabSz="65307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59233" algn="l" defTabSz="65307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12311" algn="l" defTabSz="65307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65388" algn="l" defTabSz="65307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918465" algn="l" defTabSz="65307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3" algn="l" defTabSz="65307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224620" algn="l" defTabSz="653077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193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dk2" tx1="lt1" bg2="dk1" tx2="lt2" accent1="accent1" accent2="accent2" accent3="accent3" accent4="accent4" accent5="accent5" accent6="accent6" hlink="hlink" folHlink="folHlink"/>
  <p:sldLayoutIdLst>
    <p:sldLayoutId id="2147488758" r:id="rId1"/>
    <p:sldLayoutId id="2147488783" r:id="rId2"/>
    <p:sldLayoutId id="2147488784" r:id="rId3"/>
    <p:sldLayoutId id="2147488785" r:id="rId4"/>
    <p:sldLayoutId id="2147488786" r:id="rId5"/>
    <p:sldLayoutId id="2147488787" r:id="rId6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1300163" rtl="0" eaLnBrk="0" fontAlgn="base" hangingPunct="0">
        <a:spcBef>
          <a:spcPct val="0"/>
        </a:spcBef>
        <a:spcAft>
          <a:spcPct val="0"/>
        </a:spcAft>
        <a:defRPr sz="4000">
          <a:solidFill>
            <a:srgbClr val="83D1F5"/>
          </a:solidFill>
          <a:latin typeface="Arial" charset="0"/>
          <a:ea typeface="ＭＳ Ｐゴシック" pitchFamily="34" charset="-128"/>
          <a:cs typeface="MS PGothic" charset="0"/>
        </a:defRPr>
      </a:lvl1pPr>
      <a:lvl2pPr algn="l" defTabSz="1300163" rtl="0" eaLnBrk="0" fontAlgn="base" hangingPunct="0">
        <a:spcBef>
          <a:spcPct val="0"/>
        </a:spcBef>
        <a:spcAft>
          <a:spcPct val="0"/>
        </a:spcAft>
        <a:defRPr sz="4000">
          <a:solidFill>
            <a:srgbClr val="83D1F5"/>
          </a:solidFill>
          <a:latin typeface="Arial" pitchFamily="34" charset="0"/>
          <a:ea typeface="ＭＳ Ｐゴシック" pitchFamily="34" charset="-128"/>
          <a:cs typeface="MS PGothic" charset="0"/>
        </a:defRPr>
      </a:lvl2pPr>
      <a:lvl3pPr algn="l" defTabSz="1300163" rtl="0" eaLnBrk="0" fontAlgn="base" hangingPunct="0">
        <a:spcBef>
          <a:spcPct val="0"/>
        </a:spcBef>
        <a:spcAft>
          <a:spcPct val="0"/>
        </a:spcAft>
        <a:defRPr sz="4000">
          <a:solidFill>
            <a:srgbClr val="83D1F5"/>
          </a:solidFill>
          <a:latin typeface="Arial" pitchFamily="34" charset="0"/>
          <a:ea typeface="ＭＳ Ｐゴシック" pitchFamily="34" charset="-128"/>
          <a:cs typeface="MS PGothic" charset="0"/>
        </a:defRPr>
      </a:lvl3pPr>
      <a:lvl4pPr algn="l" defTabSz="1300163" rtl="0" eaLnBrk="0" fontAlgn="base" hangingPunct="0">
        <a:spcBef>
          <a:spcPct val="0"/>
        </a:spcBef>
        <a:spcAft>
          <a:spcPct val="0"/>
        </a:spcAft>
        <a:defRPr sz="4000">
          <a:solidFill>
            <a:srgbClr val="83D1F5"/>
          </a:solidFill>
          <a:latin typeface="Arial" pitchFamily="34" charset="0"/>
          <a:ea typeface="ＭＳ Ｐゴシック" pitchFamily="34" charset="-128"/>
          <a:cs typeface="MS PGothic" charset="0"/>
        </a:defRPr>
      </a:lvl4pPr>
      <a:lvl5pPr algn="l" defTabSz="1300163" rtl="0" eaLnBrk="0" fontAlgn="base" hangingPunct="0">
        <a:spcBef>
          <a:spcPct val="0"/>
        </a:spcBef>
        <a:spcAft>
          <a:spcPct val="0"/>
        </a:spcAft>
        <a:defRPr sz="4000">
          <a:solidFill>
            <a:srgbClr val="83D1F5"/>
          </a:solidFill>
          <a:latin typeface="Arial" pitchFamily="34" charset="0"/>
          <a:ea typeface="ＭＳ Ｐゴシック" pitchFamily="34" charset="-128"/>
          <a:cs typeface="MS PGothic" charset="0"/>
        </a:defRPr>
      </a:lvl5pPr>
      <a:lvl6pPr marL="456926" algn="l" defTabSz="1305733" rtl="0" fontAlgn="base">
        <a:spcBef>
          <a:spcPct val="0"/>
        </a:spcBef>
        <a:spcAft>
          <a:spcPct val="0"/>
        </a:spcAft>
        <a:defRPr sz="4000">
          <a:solidFill>
            <a:srgbClr val="83D1F5"/>
          </a:solidFill>
          <a:latin typeface="Arial" pitchFamily="34" charset="0"/>
        </a:defRPr>
      </a:lvl6pPr>
      <a:lvl7pPr marL="913851" algn="l" defTabSz="1305733" rtl="0" fontAlgn="base">
        <a:spcBef>
          <a:spcPct val="0"/>
        </a:spcBef>
        <a:spcAft>
          <a:spcPct val="0"/>
        </a:spcAft>
        <a:defRPr sz="4000">
          <a:solidFill>
            <a:srgbClr val="83D1F5"/>
          </a:solidFill>
          <a:latin typeface="Arial" pitchFamily="34" charset="0"/>
        </a:defRPr>
      </a:lvl7pPr>
      <a:lvl8pPr marL="1370777" algn="l" defTabSz="1305733" rtl="0" fontAlgn="base">
        <a:spcBef>
          <a:spcPct val="0"/>
        </a:spcBef>
        <a:spcAft>
          <a:spcPct val="0"/>
        </a:spcAft>
        <a:defRPr sz="4000">
          <a:solidFill>
            <a:srgbClr val="83D1F5"/>
          </a:solidFill>
          <a:latin typeface="Arial" pitchFamily="34" charset="0"/>
        </a:defRPr>
      </a:lvl8pPr>
      <a:lvl9pPr marL="1827703" algn="l" defTabSz="1305733" rtl="0" fontAlgn="base">
        <a:spcBef>
          <a:spcPct val="0"/>
        </a:spcBef>
        <a:spcAft>
          <a:spcPct val="0"/>
        </a:spcAft>
        <a:defRPr sz="4000">
          <a:solidFill>
            <a:srgbClr val="83D1F5"/>
          </a:solidFill>
          <a:latin typeface="Arial" pitchFamily="34" charset="0"/>
        </a:defRPr>
      </a:lvl9pPr>
    </p:titleStyle>
    <p:bodyStyle>
      <a:lvl1pPr marL="238125" indent="-238125" algn="l" defTabSz="1300163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2900">
          <a:solidFill>
            <a:schemeClr val="tx1"/>
          </a:solidFill>
          <a:latin typeface="Arial" charset="0"/>
          <a:ea typeface="ＭＳ Ｐゴシック" pitchFamily="34" charset="-128"/>
          <a:cs typeface="MS PGothic" charset="0"/>
        </a:defRPr>
      </a:lvl1pPr>
      <a:lvl2pPr marL="812800" indent="-322263" algn="l" defTabSz="1300163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sz="2100">
          <a:solidFill>
            <a:schemeClr val="tx1"/>
          </a:solidFill>
          <a:latin typeface="Arial" charset="0"/>
          <a:ea typeface="ＭＳ Ｐゴシック" pitchFamily="34" charset="-128"/>
          <a:cs typeface="MS PGothic" charset="0"/>
        </a:defRPr>
      </a:lvl2pPr>
      <a:lvl3pPr marL="1460500" indent="-319088" algn="l" defTabSz="1300163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defRPr>
          <a:solidFill>
            <a:schemeClr val="tx1"/>
          </a:solidFill>
          <a:latin typeface="Arial" charset="0"/>
          <a:ea typeface="ＭＳ Ｐゴシック" pitchFamily="34" charset="-128"/>
          <a:cs typeface="MS PGothic" charset="0"/>
        </a:defRPr>
      </a:lvl3pPr>
      <a:lvl4pPr marL="2111375" indent="-319088" algn="l" defTabSz="1300163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defRPr>
          <a:solidFill>
            <a:schemeClr val="tx1"/>
          </a:solidFill>
          <a:latin typeface="Arial" charset="0"/>
          <a:ea typeface="ＭＳ Ｐゴシック" pitchFamily="34" charset="-128"/>
          <a:cs typeface="MS PGothic" charset="0"/>
        </a:defRPr>
      </a:lvl4pPr>
      <a:lvl5pPr marL="2765425" indent="-320675" algn="l" defTabSz="1300163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defRPr>
          <a:solidFill>
            <a:schemeClr val="tx1"/>
          </a:solidFill>
          <a:latin typeface="Arial" charset="0"/>
          <a:ea typeface="ＭＳ Ｐゴシック" pitchFamily="34" charset="-128"/>
          <a:cs typeface="MS PGothic" charset="0"/>
        </a:defRPr>
      </a:lvl5pPr>
      <a:lvl6pPr marL="3227039" indent="-326825" algn="l" defTabSz="1305733" rtl="0" fontAlgn="base">
        <a:spcBef>
          <a:spcPct val="20000"/>
        </a:spcBef>
        <a:spcAft>
          <a:spcPct val="0"/>
        </a:spcAft>
        <a:buClr>
          <a:schemeClr val="tx1"/>
        </a:buClr>
        <a:defRPr>
          <a:solidFill>
            <a:schemeClr val="tx1"/>
          </a:solidFill>
          <a:latin typeface="+mn-lt"/>
        </a:defRPr>
      </a:lvl6pPr>
      <a:lvl7pPr marL="3683964" indent="-326825" algn="l" defTabSz="1305733" rtl="0" fontAlgn="base">
        <a:spcBef>
          <a:spcPct val="20000"/>
        </a:spcBef>
        <a:spcAft>
          <a:spcPct val="0"/>
        </a:spcAft>
        <a:buClr>
          <a:schemeClr val="tx1"/>
        </a:buClr>
        <a:defRPr>
          <a:solidFill>
            <a:schemeClr val="tx1"/>
          </a:solidFill>
          <a:latin typeface="+mn-lt"/>
        </a:defRPr>
      </a:lvl7pPr>
      <a:lvl8pPr marL="4140890" indent="-326825" algn="l" defTabSz="1305733" rtl="0" fontAlgn="base">
        <a:spcBef>
          <a:spcPct val="20000"/>
        </a:spcBef>
        <a:spcAft>
          <a:spcPct val="0"/>
        </a:spcAft>
        <a:buClr>
          <a:schemeClr val="tx1"/>
        </a:buClr>
        <a:defRPr>
          <a:solidFill>
            <a:schemeClr val="tx1"/>
          </a:solidFill>
          <a:latin typeface="+mn-lt"/>
        </a:defRPr>
      </a:lvl8pPr>
      <a:lvl9pPr marL="4597816" indent="-326825" algn="l" defTabSz="1305733" rtl="0" fontAlgn="base">
        <a:spcBef>
          <a:spcPct val="20000"/>
        </a:spcBef>
        <a:spcAft>
          <a:spcPct val="0"/>
        </a:spcAft>
        <a:buClr>
          <a:schemeClr val="tx1"/>
        </a:buClr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5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26" algn="l" defTabSz="91385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51" algn="l" defTabSz="91385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77" algn="l" defTabSz="91385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03" algn="l" defTabSz="91385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29" algn="l" defTabSz="91385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554" algn="l" defTabSz="91385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80" algn="l" defTabSz="91385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406" algn="l" defTabSz="91385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dk1" tx1="lt1" bg2="dk2" tx2="lt2" accent1="accent1" accent2="accent2" accent3="accent3" accent4="accent4" accent5="accent5" accent6="accent6" hlink="hlink" folHlink="folHlink"/>
  <p:sldLayoutIdLst>
    <p:sldLayoutId id="2147488629" r:id="rId1"/>
    <p:sldLayoutId id="2147488777" r:id="rId2"/>
    <p:sldLayoutId id="2147488779" r:id="rId3"/>
    <p:sldLayoutId id="2147488780" r:id="rId4"/>
    <p:sldLayoutId id="2147488781" r:id="rId5"/>
    <p:sldLayoutId id="2147488782" r:id="rId6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1300163" rtl="0" eaLnBrk="0" fontAlgn="base" hangingPunct="0">
        <a:spcBef>
          <a:spcPct val="0"/>
        </a:spcBef>
        <a:spcAft>
          <a:spcPct val="0"/>
        </a:spcAft>
        <a:defRPr sz="4000">
          <a:solidFill>
            <a:srgbClr val="83D1F5"/>
          </a:solidFill>
          <a:latin typeface="+mj-lt"/>
          <a:ea typeface="ＭＳ Ｐゴシック" pitchFamily="34" charset="-128"/>
          <a:cs typeface="MS PGothic" charset="0"/>
        </a:defRPr>
      </a:lvl1pPr>
      <a:lvl2pPr algn="l" defTabSz="1300163" rtl="0" eaLnBrk="0" fontAlgn="base" hangingPunct="0">
        <a:spcBef>
          <a:spcPct val="0"/>
        </a:spcBef>
        <a:spcAft>
          <a:spcPct val="0"/>
        </a:spcAft>
        <a:defRPr sz="4000">
          <a:solidFill>
            <a:srgbClr val="83D1F5"/>
          </a:solidFill>
          <a:latin typeface="Arial" pitchFamily="34" charset="0"/>
          <a:ea typeface="ＭＳ Ｐゴシック" pitchFamily="34" charset="-128"/>
          <a:cs typeface="MS PGothic" charset="0"/>
        </a:defRPr>
      </a:lvl2pPr>
      <a:lvl3pPr algn="l" defTabSz="1300163" rtl="0" eaLnBrk="0" fontAlgn="base" hangingPunct="0">
        <a:spcBef>
          <a:spcPct val="0"/>
        </a:spcBef>
        <a:spcAft>
          <a:spcPct val="0"/>
        </a:spcAft>
        <a:defRPr sz="4000">
          <a:solidFill>
            <a:srgbClr val="83D1F5"/>
          </a:solidFill>
          <a:latin typeface="Arial" pitchFamily="34" charset="0"/>
          <a:ea typeface="ＭＳ Ｐゴシック" pitchFamily="34" charset="-128"/>
          <a:cs typeface="MS PGothic" charset="0"/>
        </a:defRPr>
      </a:lvl3pPr>
      <a:lvl4pPr algn="l" defTabSz="1300163" rtl="0" eaLnBrk="0" fontAlgn="base" hangingPunct="0">
        <a:spcBef>
          <a:spcPct val="0"/>
        </a:spcBef>
        <a:spcAft>
          <a:spcPct val="0"/>
        </a:spcAft>
        <a:defRPr sz="4000">
          <a:solidFill>
            <a:srgbClr val="83D1F5"/>
          </a:solidFill>
          <a:latin typeface="Arial" pitchFamily="34" charset="0"/>
          <a:ea typeface="ＭＳ Ｐゴシック" pitchFamily="34" charset="-128"/>
          <a:cs typeface="MS PGothic" charset="0"/>
        </a:defRPr>
      </a:lvl4pPr>
      <a:lvl5pPr algn="l" defTabSz="1300163" rtl="0" eaLnBrk="0" fontAlgn="base" hangingPunct="0">
        <a:spcBef>
          <a:spcPct val="0"/>
        </a:spcBef>
        <a:spcAft>
          <a:spcPct val="0"/>
        </a:spcAft>
        <a:defRPr sz="4000">
          <a:solidFill>
            <a:srgbClr val="83D1F5"/>
          </a:solidFill>
          <a:latin typeface="Arial" pitchFamily="34" charset="0"/>
          <a:ea typeface="ＭＳ Ｐゴシック" pitchFamily="34" charset="-128"/>
          <a:cs typeface="MS PGothic" charset="0"/>
        </a:defRPr>
      </a:lvl5pPr>
      <a:lvl6pPr marL="456949" algn="l" defTabSz="1304211" rtl="0" eaLnBrk="0" fontAlgn="base" hangingPunct="0">
        <a:spcBef>
          <a:spcPct val="0"/>
        </a:spcBef>
        <a:spcAft>
          <a:spcPct val="0"/>
        </a:spcAft>
        <a:defRPr sz="4000">
          <a:solidFill>
            <a:srgbClr val="83D1F5"/>
          </a:solidFill>
          <a:latin typeface="Arial" pitchFamily="34" charset="0"/>
          <a:ea typeface="ＭＳ Ｐゴシック" pitchFamily="34" charset="-128"/>
        </a:defRPr>
      </a:lvl6pPr>
      <a:lvl7pPr marL="913897" algn="l" defTabSz="1304211" rtl="0" eaLnBrk="0" fontAlgn="base" hangingPunct="0">
        <a:spcBef>
          <a:spcPct val="0"/>
        </a:spcBef>
        <a:spcAft>
          <a:spcPct val="0"/>
        </a:spcAft>
        <a:defRPr sz="4000">
          <a:solidFill>
            <a:srgbClr val="83D1F5"/>
          </a:solidFill>
          <a:latin typeface="Arial" pitchFamily="34" charset="0"/>
          <a:ea typeface="ＭＳ Ｐゴシック" pitchFamily="34" charset="-128"/>
        </a:defRPr>
      </a:lvl7pPr>
      <a:lvl8pPr marL="1370846" algn="l" defTabSz="1304211" rtl="0" eaLnBrk="0" fontAlgn="base" hangingPunct="0">
        <a:spcBef>
          <a:spcPct val="0"/>
        </a:spcBef>
        <a:spcAft>
          <a:spcPct val="0"/>
        </a:spcAft>
        <a:defRPr sz="4000">
          <a:solidFill>
            <a:srgbClr val="83D1F5"/>
          </a:solidFill>
          <a:latin typeface="Arial" pitchFamily="34" charset="0"/>
          <a:ea typeface="ＭＳ Ｐゴシック" pitchFamily="34" charset="-128"/>
        </a:defRPr>
      </a:lvl8pPr>
      <a:lvl9pPr marL="1827794" algn="l" defTabSz="1304211" rtl="0" eaLnBrk="0" fontAlgn="base" hangingPunct="0">
        <a:spcBef>
          <a:spcPct val="0"/>
        </a:spcBef>
        <a:spcAft>
          <a:spcPct val="0"/>
        </a:spcAft>
        <a:defRPr sz="4000">
          <a:solidFill>
            <a:srgbClr val="83D1F5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238125" indent="-238125" algn="l" defTabSz="1300163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2900">
          <a:solidFill>
            <a:schemeClr val="tx1"/>
          </a:solidFill>
          <a:latin typeface="+mn-lt"/>
          <a:ea typeface="ＭＳ Ｐゴシック" pitchFamily="34" charset="-128"/>
          <a:cs typeface="MS PGothic" charset="0"/>
        </a:defRPr>
      </a:lvl1pPr>
      <a:lvl2pPr marL="812800" indent="-322263" algn="l" defTabSz="1300163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sz="2100">
          <a:solidFill>
            <a:schemeClr val="tx1"/>
          </a:solidFill>
          <a:latin typeface="+mn-lt"/>
          <a:ea typeface="ＭＳ Ｐゴシック" pitchFamily="34" charset="-128"/>
          <a:cs typeface="MS PGothic" charset="0"/>
        </a:defRPr>
      </a:lvl2pPr>
      <a:lvl3pPr marL="1460500" indent="-319088" algn="l" defTabSz="1300163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defRPr>
          <a:solidFill>
            <a:schemeClr val="tx1"/>
          </a:solidFill>
          <a:latin typeface="+mn-lt"/>
          <a:ea typeface="ＭＳ Ｐゴシック" pitchFamily="34" charset="-128"/>
          <a:cs typeface="MS PGothic" charset="0"/>
        </a:defRPr>
      </a:lvl3pPr>
      <a:lvl4pPr marL="2111375" indent="-319088" algn="l" defTabSz="1300163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defRPr>
          <a:solidFill>
            <a:schemeClr val="tx1"/>
          </a:solidFill>
          <a:latin typeface="+mn-lt"/>
          <a:ea typeface="ＭＳ Ｐゴシック" pitchFamily="34" charset="-128"/>
          <a:cs typeface="MS PGothic" charset="0"/>
        </a:defRPr>
      </a:lvl4pPr>
      <a:lvl5pPr marL="2765425" indent="-320675" algn="l" defTabSz="1300163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defRPr>
          <a:solidFill>
            <a:schemeClr val="tx1"/>
          </a:solidFill>
          <a:latin typeface="+mn-lt"/>
          <a:ea typeface="ＭＳ Ｐゴシック" pitchFamily="34" charset="-128"/>
          <a:cs typeface="MS PGothic" charset="0"/>
        </a:defRPr>
      </a:lvl5pPr>
      <a:lvl6pPr marL="3225613" indent="-325255" algn="l" defTabSz="1304211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defRPr>
          <a:solidFill>
            <a:schemeClr val="tx1"/>
          </a:solidFill>
          <a:latin typeface="+mn-lt"/>
          <a:ea typeface="+mn-ea"/>
        </a:defRPr>
      </a:lvl6pPr>
      <a:lvl7pPr marL="3682562" indent="-325255" algn="l" defTabSz="1304211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defRPr>
          <a:solidFill>
            <a:schemeClr val="tx1"/>
          </a:solidFill>
          <a:latin typeface="+mn-lt"/>
          <a:ea typeface="+mn-ea"/>
        </a:defRPr>
      </a:lvl7pPr>
      <a:lvl8pPr marL="4139510" indent="-325255" algn="l" defTabSz="1304211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defRPr>
          <a:solidFill>
            <a:schemeClr val="tx1"/>
          </a:solidFill>
          <a:latin typeface="+mn-lt"/>
          <a:ea typeface="+mn-ea"/>
        </a:defRPr>
      </a:lvl8pPr>
      <a:lvl9pPr marL="4596459" indent="-325255" algn="l" defTabSz="1304211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389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49" algn="l" defTabSz="91389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97" algn="l" defTabSz="91389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46" algn="l" defTabSz="91389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94" algn="l" defTabSz="91389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43" algn="l" defTabSz="91389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691" algn="l" defTabSz="91389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640" algn="l" defTabSz="91389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589" algn="l" defTabSz="91389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4.xml"/><Relationship Id="rId4" Type="http://schemas.openxmlformats.org/officeDocument/2006/relationships/hyperlink" Target="2015_05_13_4906_Think_Forum_2014(2).mp4" TargetMode="Externa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2015_03_06_4752_Digital_Reinvention.mov" TargetMode="External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10" Type="http://schemas.openxmlformats.org/officeDocument/2006/relationships/image" Target="../media/image40.png"/><Relationship Id="rId4" Type="http://schemas.openxmlformats.org/officeDocument/2006/relationships/image" Target="../media/image34.png"/><Relationship Id="rId9" Type="http://schemas.openxmlformats.org/officeDocument/2006/relationships/image" Target="../media/image3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8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21" Type="http://schemas.openxmlformats.org/officeDocument/2006/relationships/notesSlide" Target="../notesSlides/notesSlide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slideLayout" Target="../slideLayouts/slideLayout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image" Target="../media/image43.pn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image" Target="../media/image42.pn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image" Target="../media/image8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5" Type="http://schemas.openxmlformats.org/officeDocument/2006/relationships/hyperlink" Target="http://www.ibm.com/security/ciso" TargetMode="External"/><Relationship Id="rId4" Type="http://schemas.openxmlformats.org/officeDocument/2006/relationships/hyperlink" Target="https://www14.software.ibm.com/webapp/iwm/web/signup.do?source=swg-WW_Security_Organic&amp;S_PKG=ov33510&amp;S_TACT=C327017W&amp;dynform=18101" TargetMode="Externa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6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8.png"/><Relationship Id="rId7" Type="http://schemas.openxmlformats.org/officeDocument/2006/relationships/image" Target="../media/image5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Relationship Id="rId9" Type="http://schemas.openxmlformats.org/officeDocument/2006/relationships/image" Target="../media/image53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9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5.jpeg"/><Relationship Id="rId4" Type="http://schemas.openxmlformats.org/officeDocument/2006/relationships/image" Target="../media/image54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wmf"/><Relationship Id="rId7" Type="http://schemas.openxmlformats.org/officeDocument/2006/relationships/image" Target="../media/image60.wmf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59.wmf"/><Relationship Id="rId5" Type="http://schemas.openxmlformats.org/officeDocument/2006/relationships/image" Target="../media/image58.wmf"/><Relationship Id="rId4" Type="http://schemas.openxmlformats.org/officeDocument/2006/relationships/image" Target="../media/image57.gi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62.jpeg"/></Relationships>
</file>

<file path=ppt/slides/_rels/slide42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13" Type="http://schemas.openxmlformats.org/officeDocument/2006/relationships/image" Target="../media/image68.png"/><Relationship Id="rId18" Type="http://schemas.microsoft.com/office/2007/relationships/hdphoto" Target="../media/hdphoto9.wdp"/><Relationship Id="rId26" Type="http://schemas.microsoft.com/office/2007/relationships/hdphoto" Target="../media/hdphoto13.wdp"/><Relationship Id="rId39" Type="http://schemas.openxmlformats.org/officeDocument/2006/relationships/image" Target="../media/image80.png"/><Relationship Id="rId3" Type="http://schemas.openxmlformats.org/officeDocument/2006/relationships/image" Target="../media/image63.png"/><Relationship Id="rId21" Type="http://schemas.openxmlformats.org/officeDocument/2006/relationships/image" Target="../media/image71.png"/><Relationship Id="rId34" Type="http://schemas.microsoft.com/office/2007/relationships/hdphoto" Target="../media/hdphoto17.wdp"/><Relationship Id="rId42" Type="http://schemas.openxmlformats.org/officeDocument/2006/relationships/image" Target="../media/image82.png"/><Relationship Id="rId7" Type="http://schemas.openxmlformats.org/officeDocument/2006/relationships/image" Target="../media/image65.jpeg"/><Relationship Id="rId12" Type="http://schemas.microsoft.com/office/2007/relationships/hdphoto" Target="../media/hdphoto5.wdp"/><Relationship Id="rId17" Type="http://schemas.microsoft.com/office/2007/relationships/hdphoto" Target="../media/hdphoto8.wdp"/><Relationship Id="rId25" Type="http://schemas.openxmlformats.org/officeDocument/2006/relationships/image" Target="../media/image73.png"/><Relationship Id="rId33" Type="http://schemas.openxmlformats.org/officeDocument/2006/relationships/image" Target="../media/image77.png"/><Relationship Id="rId38" Type="http://schemas.microsoft.com/office/2007/relationships/hdphoto" Target="../media/hdphoto19.wdp"/><Relationship Id="rId2" Type="http://schemas.openxmlformats.org/officeDocument/2006/relationships/image" Target="../media/image8.png"/><Relationship Id="rId16" Type="http://schemas.microsoft.com/office/2007/relationships/hdphoto" Target="../media/hdphoto7.wdp"/><Relationship Id="rId20" Type="http://schemas.microsoft.com/office/2007/relationships/hdphoto" Target="../media/hdphoto10.wdp"/><Relationship Id="rId29" Type="http://schemas.openxmlformats.org/officeDocument/2006/relationships/image" Target="../media/image75.png"/><Relationship Id="rId41" Type="http://schemas.openxmlformats.org/officeDocument/2006/relationships/image" Target="../media/image81.jpeg"/><Relationship Id="rId1" Type="http://schemas.openxmlformats.org/officeDocument/2006/relationships/slideLayout" Target="../slideLayouts/slideLayout9.xml"/><Relationship Id="rId6" Type="http://schemas.microsoft.com/office/2007/relationships/hdphoto" Target="../media/hdphoto2.wdp"/><Relationship Id="rId11" Type="http://schemas.openxmlformats.org/officeDocument/2006/relationships/image" Target="../media/image67.png"/><Relationship Id="rId24" Type="http://schemas.microsoft.com/office/2007/relationships/hdphoto" Target="../media/hdphoto12.wdp"/><Relationship Id="rId32" Type="http://schemas.microsoft.com/office/2007/relationships/hdphoto" Target="../media/hdphoto16.wdp"/><Relationship Id="rId37" Type="http://schemas.openxmlformats.org/officeDocument/2006/relationships/image" Target="../media/image79.png"/><Relationship Id="rId40" Type="http://schemas.microsoft.com/office/2007/relationships/hdphoto" Target="../media/hdphoto20.wdp"/><Relationship Id="rId5" Type="http://schemas.openxmlformats.org/officeDocument/2006/relationships/image" Target="../media/image64.png"/><Relationship Id="rId15" Type="http://schemas.openxmlformats.org/officeDocument/2006/relationships/image" Target="../media/image69.png"/><Relationship Id="rId23" Type="http://schemas.openxmlformats.org/officeDocument/2006/relationships/image" Target="../media/image72.png"/><Relationship Id="rId28" Type="http://schemas.microsoft.com/office/2007/relationships/hdphoto" Target="../media/hdphoto14.wdp"/><Relationship Id="rId36" Type="http://schemas.microsoft.com/office/2007/relationships/hdphoto" Target="../media/hdphoto18.wdp"/><Relationship Id="rId10" Type="http://schemas.microsoft.com/office/2007/relationships/hdphoto" Target="../media/hdphoto4.wdp"/><Relationship Id="rId19" Type="http://schemas.openxmlformats.org/officeDocument/2006/relationships/image" Target="../media/image70.png"/><Relationship Id="rId31" Type="http://schemas.openxmlformats.org/officeDocument/2006/relationships/image" Target="../media/image76.png"/><Relationship Id="rId4" Type="http://schemas.microsoft.com/office/2007/relationships/hdphoto" Target="../media/hdphoto1.wdp"/><Relationship Id="rId9" Type="http://schemas.openxmlformats.org/officeDocument/2006/relationships/image" Target="../media/image66.png"/><Relationship Id="rId14" Type="http://schemas.microsoft.com/office/2007/relationships/hdphoto" Target="../media/hdphoto6.wdp"/><Relationship Id="rId22" Type="http://schemas.microsoft.com/office/2007/relationships/hdphoto" Target="../media/hdphoto11.wdp"/><Relationship Id="rId27" Type="http://schemas.openxmlformats.org/officeDocument/2006/relationships/image" Target="../media/image74.png"/><Relationship Id="rId30" Type="http://schemas.microsoft.com/office/2007/relationships/hdphoto" Target="../media/hdphoto15.wdp"/><Relationship Id="rId35" Type="http://schemas.openxmlformats.org/officeDocument/2006/relationships/image" Target="../media/image78.png"/><Relationship Id="rId43" Type="http://schemas.openxmlformats.org/officeDocument/2006/relationships/image" Target="../media/image83.png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hyperlink" Target="Videos/Moments_that_Matter_Portugues.mp4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21" name="Picture 3" descr="H:\transfer\capa-baixa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" r="-140"/>
          <a:stretch>
            <a:fillRect/>
          </a:stretch>
        </p:blipFill>
        <p:spPr bwMode="auto">
          <a:xfrm>
            <a:off x="0" y="0"/>
            <a:ext cx="14630400" cy="822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Rectangle 19"/>
          <p:cNvSpPr/>
          <p:nvPr/>
        </p:nvSpPr>
        <p:spPr>
          <a:xfrm>
            <a:off x="0" y="3852153"/>
            <a:ext cx="10525328" cy="4377447"/>
          </a:xfrm>
          <a:prstGeom prst="rect">
            <a:avLst/>
          </a:prstGeom>
          <a:gradFill flip="none" rotWithShape="1">
            <a:gsLst>
              <a:gs pos="32000">
                <a:schemeClr val="tx1">
                  <a:lumMod val="90000"/>
                  <a:lumOff val="10000"/>
                  <a:alpha val="83000"/>
                </a:schemeClr>
              </a:gs>
              <a:gs pos="89000">
                <a:schemeClr val="tx1">
                  <a:lumMod val="90000"/>
                  <a:lumOff val="10000"/>
                  <a:alpha val="0"/>
                </a:schemeClr>
              </a:gs>
              <a:gs pos="65000">
                <a:schemeClr val="tx1">
                  <a:lumMod val="90000"/>
                  <a:lumOff val="10000"/>
                  <a:alpha val="7600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15" tIns="65308" rIns="130615" bIns="65308" anchor="ctr"/>
          <a:lstStyle/>
          <a:p>
            <a:pPr algn="ctr" defTabSz="653077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900">
              <a:solidFill>
                <a:prstClr val="white"/>
              </a:solidFill>
              <a:latin typeface="Raleway" panose="020B0003030101060003" pitchFamily="34" charset="0"/>
            </a:endParaRPr>
          </a:p>
        </p:txBody>
      </p:sp>
      <p:sp>
        <p:nvSpPr>
          <p:cNvPr id="21" name="Text Placeholder 1"/>
          <p:cNvSpPr txBox="1">
            <a:spLocks/>
          </p:cNvSpPr>
          <p:nvPr/>
        </p:nvSpPr>
        <p:spPr bwMode="auto">
          <a:xfrm>
            <a:off x="665024" y="3987200"/>
            <a:ext cx="7970838" cy="132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15900" indent="-215900" algn="l" defTabSz="650875" rtl="0" eaLnBrk="0" fontAlgn="base" hangingPunct="0">
              <a:lnSpc>
                <a:spcPts val="1713"/>
              </a:lnSpc>
              <a:spcBef>
                <a:spcPct val="0"/>
              </a:spcBef>
              <a:spcAft>
                <a:spcPct val="0"/>
              </a:spcAft>
              <a:buClr>
                <a:srgbClr val="00B2EF"/>
              </a:buClr>
              <a:buFont typeface="Wingdings" pitchFamily="2" charset="2"/>
              <a:defRPr sz="1400" kern="1200">
                <a:solidFill>
                  <a:srgbClr val="00B2EF"/>
                </a:solidFill>
                <a:latin typeface="Lubalin Demi for IBM"/>
                <a:ea typeface="ＭＳ Ｐゴシック" charset="0"/>
                <a:cs typeface="Lubalin Demi for IBM"/>
              </a:defRPr>
            </a:lvl1pPr>
            <a:lvl2pPr marL="215900" indent="-215900" algn="l" defTabSz="650875" rtl="0" eaLnBrk="0" fontAlgn="base" hangingPunct="0">
              <a:lnSpc>
                <a:spcPts val="1713"/>
              </a:lnSpc>
              <a:spcBef>
                <a:spcPts val="863"/>
              </a:spcBef>
              <a:spcAft>
                <a:spcPct val="0"/>
              </a:spcAft>
              <a:buClr>
                <a:srgbClr val="00B2EF"/>
              </a:buClr>
              <a:buSzPct val="100000"/>
              <a:buFont typeface="Wingdings" pitchFamily="2" charset="2"/>
              <a:buChar char="§"/>
              <a:defRPr sz="1400" kern="1200">
                <a:solidFill>
                  <a:srgbClr val="FFFFFF"/>
                </a:solidFill>
                <a:latin typeface="Lubalin Book for IBM"/>
                <a:ea typeface="ＭＳ Ｐゴシック" charset="0"/>
                <a:cs typeface="Lubalin Book for IBM"/>
              </a:defRPr>
            </a:lvl2pPr>
            <a:lvl3pPr marL="215900" indent="1085850" algn="l" defTabSz="650875" rtl="0" eaLnBrk="0" fontAlgn="base" hangingPunct="0">
              <a:lnSpc>
                <a:spcPts val="1713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defRPr sz="1300" kern="1200">
                <a:solidFill>
                  <a:srgbClr val="FFFFFF"/>
                </a:solidFill>
                <a:latin typeface="HelvNeue Roman for IBM"/>
                <a:ea typeface="ＭＳ Ｐゴシック" charset="0"/>
                <a:cs typeface="HelvNeue Roman for IBM"/>
              </a:defRPr>
            </a:lvl3pPr>
            <a:lvl4pPr marL="2282825" indent="-323850" algn="l" defTabSz="650875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900" kern="1200">
                <a:solidFill>
                  <a:schemeClr val="tx1"/>
                </a:solidFill>
                <a:latin typeface="+mn-lt"/>
                <a:ea typeface="HelvNeue Roman for IBM"/>
                <a:cs typeface="HelvNeue Roman for IBM"/>
              </a:defRPr>
            </a:lvl4pPr>
            <a:lvl5pPr marL="2936875" indent="-323850" algn="l" defTabSz="650875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900" kern="1200">
                <a:solidFill>
                  <a:schemeClr val="tx1"/>
                </a:solidFill>
                <a:latin typeface="+mn-lt"/>
                <a:ea typeface="HelvNeue Roman for IBM"/>
                <a:cs typeface="HelvNeue Roman for IBM"/>
              </a:defRPr>
            </a:lvl5pPr>
            <a:lvl6pPr marL="3591926" indent="-326539" algn="l" defTabSz="653077" rtl="0" eaLnBrk="1" latinLnBrk="0" hangingPunct="1">
              <a:spcBef>
                <a:spcPct val="20000"/>
              </a:spcBef>
              <a:buFont typeface="Arial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003" indent="-326539" algn="l" defTabSz="653077" rtl="0" eaLnBrk="1" latinLnBrk="0" hangingPunct="1">
              <a:spcBef>
                <a:spcPct val="20000"/>
              </a:spcBef>
              <a:buFont typeface="Arial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082" indent="-326539" algn="l" defTabSz="653077" rtl="0" eaLnBrk="1" latinLnBrk="0" hangingPunct="1">
              <a:spcBef>
                <a:spcPct val="20000"/>
              </a:spcBef>
              <a:buFont typeface="Arial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160" indent="-326539" algn="l" defTabSz="653077" rtl="0" eaLnBrk="1" latinLnBrk="0" hangingPunct="1">
              <a:spcBef>
                <a:spcPct val="20000"/>
              </a:spcBef>
              <a:buFont typeface="Arial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1" hangingPunct="1">
              <a:lnSpc>
                <a:spcPct val="100000"/>
              </a:lnSpc>
            </a:pPr>
            <a:r>
              <a:rPr lang="en-US" altLang="en-US" sz="5400" b="1" dirty="0" smtClean="0">
                <a:solidFill>
                  <a:srgbClr val="FFC000"/>
                </a:solidFill>
                <a:latin typeface="Lubalin Demi for IBM" pitchFamily="1" charset="0"/>
                <a:ea typeface="ＭＳ Ｐゴシック" pitchFamily="34" charset="-128"/>
              </a:rPr>
              <a:t>Experience in </a:t>
            </a:r>
            <a:r>
              <a:rPr lang="en-US" altLang="en-US" sz="7100" b="1" i="1" dirty="0" smtClean="0">
                <a:latin typeface="Lubalin Demi for IBM" pitchFamily="1" charset="0"/>
                <a:ea typeface="ＭＳ Ｐゴシック" pitchFamily="34" charset="-128"/>
              </a:rPr>
              <a:t>Motion</a:t>
            </a:r>
          </a:p>
        </p:txBody>
      </p:sp>
      <p:sp>
        <p:nvSpPr>
          <p:cNvPr id="5" name="Rectangle 4"/>
          <p:cNvSpPr/>
          <p:nvPr/>
        </p:nvSpPr>
        <p:spPr>
          <a:xfrm>
            <a:off x="1" y="1"/>
            <a:ext cx="8932862" cy="1451610"/>
          </a:xfrm>
          <a:prstGeom prst="rect">
            <a:avLst/>
          </a:prstGeom>
          <a:gradFill flip="none" rotWithShape="1">
            <a:gsLst>
              <a:gs pos="32000">
                <a:schemeClr val="tx1">
                  <a:lumMod val="90000"/>
                  <a:lumOff val="10000"/>
                  <a:alpha val="83000"/>
                </a:schemeClr>
              </a:gs>
              <a:gs pos="89000">
                <a:schemeClr val="tx1">
                  <a:lumMod val="90000"/>
                  <a:lumOff val="10000"/>
                  <a:alpha val="0"/>
                </a:schemeClr>
              </a:gs>
              <a:gs pos="65000">
                <a:schemeClr val="tx1">
                  <a:lumMod val="90000"/>
                  <a:lumOff val="10000"/>
                  <a:alpha val="7600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15" tIns="65308" rIns="130615" bIns="65308" anchor="ctr"/>
          <a:lstStyle/>
          <a:p>
            <a:pPr algn="ctr" defTabSz="6530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900">
              <a:solidFill>
                <a:prstClr val="white"/>
              </a:solidFill>
              <a:latin typeface="Raleway" panose="020B0003030101060003" pitchFamily="34" charset="0"/>
            </a:endParaRPr>
          </a:p>
        </p:txBody>
      </p:sp>
      <p:pic>
        <p:nvPicPr>
          <p:cNvPr id="133132" name="Picture 8" descr="IBM logo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6600" y="540327"/>
            <a:ext cx="946727" cy="362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" name="Group 13"/>
          <p:cNvGrpSpPr>
            <a:grpSpLocks/>
          </p:cNvGrpSpPr>
          <p:nvPr/>
        </p:nvGrpSpPr>
        <p:grpSpPr bwMode="auto">
          <a:xfrm>
            <a:off x="-45248513" y="4792663"/>
            <a:ext cx="38407975" cy="2232025"/>
            <a:chOff x="-15180263" y="-186991"/>
            <a:chExt cx="26630812" cy="1860341"/>
          </a:xfrm>
        </p:grpSpPr>
        <p:sp>
          <p:nvSpPr>
            <p:cNvPr id="133138" name="TextBox 14"/>
            <p:cNvSpPr txBox="1">
              <a:spLocks noChangeArrowheads="1"/>
            </p:cNvSpPr>
            <p:nvPr/>
          </p:nvSpPr>
          <p:spPr bwMode="auto">
            <a:xfrm>
              <a:off x="-6330713" y="-160532"/>
              <a:ext cx="17781262" cy="18338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12600">
                  <a:solidFill>
                    <a:srgbClr val="FFFF4F"/>
                  </a:solidFill>
                  <a:latin typeface="Calibri" pitchFamily="34" charset="0"/>
                  <a:cs typeface="Arial" pitchFamily="34" charset="0"/>
                </a:rPr>
                <a:t>Business</a:t>
              </a:r>
              <a:r>
                <a:rPr lang="en-US" altLang="en-US" sz="10300">
                  <a:solidFill>
                    <a:srgbClr val="FFFF4F"/>
                  </a:solidFill>
                  <a:latin typeface="Calibri" pitchFamily="34" charset="0"/>
                  <a:cs typeface="Arial" pitchFamily="34" charset="0"/>
                </a:rPr>
                <a:t> </a:t>
              </a:r>
              <a:r>
                <a:rPr lang="en-US" altLang="en-US" sz="9400">
                  <a:solidFill>
                    <a:srgbClr val="FFFF4F"/>
                  </a:solidFill>
                  <a:latin typeface="Calibri" pitchFamily="34" charset="0"/>
                  <a:cs typeface="Arial" pitchFamily="34" charset="0"/>
                </a:rPr>
                <a:t>in</a:t>
              </a:r>
              <a:r>
                <a:rPr lang="en-US" altLang="en-US" sz="9400" i="1">
                  <a:solidFill>
                    <a:srgbClr val="FFFF4F"/>
                  </a:solidFill>
                  <a:latin typeface="Calibri" pitchFamily="34" charset="0"/>
                  <a:cs typeface="Arial" pitchFamily="34" charset="0"/>
                </a:rPr>
                <a:t> Motion</a:t>
              </a:r>
              <a:r>
                <a:rPr lang="en-US" altLang="en-US" sz="9400">
                  <a:solidFill>
                    <a:srgbClr val="FFFF4F"/>
                  </a:solidFill>
                  <a:latin typeface="Calibri" pitchFamily="34" charset="0"/>
                  <a:cs typeface="Arial" pitchFamily="34" charset="0"/>
                </a:rPr>
                <a:t>                 </a:t>
              </a:r>
              <a:r>
                <a:rPr lang="en-US" altLang="en-US" sz="13700">
                  <a:solidFill>
                    <a:srgbClr val="7030A0"/>
                  </a:solidFill>
                  <a:latin typeface="Calibri" pitchFamily="34" charset="0"/>
                  <a:cs typeface="Arial" pitchFamily="34" charset="0"/>
                </a:rPr>
                <a:t>Design</a:t>
              </a:r>
              <a:r>
                <a:rPr lang="en-US" altLang="en-US" sz="11400">
                  <a:solidFill>
                    <a:srgbClr val="7030A0"/>
                  </a:solidFill>
                  <a:latin typeface="Calibri" pitchFamily="34" charset="0"/>
                  <a:cs typeface="Arial" pitchFamily="34" charset="0"/>
                </a:rPr>
                <a:t> </a:t>
              </a:r>
              <a:r>
                <a:rPr lang="en-US" altLang="en-US" sz="9400" b="1">
                  <a:solidFill>
                    <a:srgbClr val="7030A0"/>
                  </a:solidFill>
                  <a:latin typeface="Calibri" pitchFamily="34" charset="0"/>
                  <a:cs typeface="Arial" pitchFamily="34" charset="0"/>
                </a:rPr>
                <a:t>in </a:t>
              </a:r>
              <a:r>
                <a:rPr lang="en-US" altLang="en-US" sz="9400" b="1" i="1">
                  <a:solidFill>
                    <a:srgbClr val="7030A0"/>
                  </a:solidFill>
                  <a:latin typeface="Calibri" pitchFamily="34" charset="0"/>
                  <a:cs typeface="Arial" pitchFamily="34" charset="0"/>
                </a:rPr>
                <a:t>Motion</a:t>
              </a:r>
            </a:p>
          </p:txBody>
        </p:sp>
        <p:sp>
          <p:nvSpPr>
            <p:cNvPr id="133139" name="TextBox 15"/>
            <p:cNvSpPr txBox="1">
              <a:spLocks noChangeArrowheads="1"/>
            </p:cNvSpPr>
            <p:nvPr/>
          </p:nvSpPr>
          <p:spPr bwMode="auto">
            <a:xfrm>
              <a:off x="-15180263" y="-186991"/>
              <a:ext cx="8373315" cy="18338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13700">
                  <a:solidFill>
                    <a:srgbClr val="92D050"/>
                  </a:solidFill>
                  <a:latin typeface="Calibri" pitchFamily="34" charset="0"/>
                  <a:cs typeface="Arial" pitchFamily="34" charset="0"/>
                </a:rPr>
                <a:t>Design</a:t>
              </a:r>
              <a:r>
                <a:rPr lang="en-US" altLang="en-US" sz="10300">
                  <a:solidFill>
                    <a:srgbClr val="92D050"/>
                  </a:solidFill>
                  <a:latin typeface="Calibri" pitchFamily="34" charset="0"/>
                  <a:cs typeface="Arial" pitchFamily="34" charset="0"/>
                </a:rPr>
                <a:t> </a:t>
              </a:r>
              <a:r>
                <a:rPr lang="en-US" altLang="en-US" sz="9400">
                  <a:solidFill>
                    <a:srgbClr val="92D050"/>
                  </a:solidFill>
                  <a:latin typeface="Calibri" pitchFamily="34" charset="0"/>
                  <a:cs typeface="Arial" pitchFamily="34" charset="0"/>
                </a:rPr>
                <a:t>in </a:t>
              </a:r>
              <a:r>
                <a:rPr lang="en-US" altLang="en-US" sz="9400" i="1">
                  <a:solidFill>
                    <a:srgbClr val="92D050"/>
                  </a:solidFill>
                  <a:latin typeface="Calibri" pitchFamily="34" charset="0"/>
                  <a:cs typeface="Arial" pitchFamily="34" charset="0"/>
                </a:rPr>
                <a:t>Motion</a:t>
              </a:r>
            </a:p>
          </p:txBody>
        </p:sp>
      </p:grpSp>
      <p:grpSp>
        <p:nvGrpSpPr>
          <p:cNvPr id="18" name="Group 17"/>
          <p:cNvGrpSpPr>
            <a:grpSpLocks/>
          </p:cNvGrpSpPr>
          <p:nvPr/>
        </p:nvGrpSpPr>
        <p:grpSpPr bwMode="auto">
          <a:xfrm>
            <a:off x="19477038" y="5891213"/>
            <a:ext cx="59567762" cy="2767012"/>
            <a:chOff x="-27942941" y="-541537"/>
            <a:chExt cx="37230820" cy="2305290"/>
          </a:xfrm>
        </p:grpSpPr>
        <p:sp>
          <p:nvSpPr>
            <p:cNvPr id="133135" name="TextBox 47"/>
            <p:cNvSpPr txBox="1">
              <a:spLocks noChangeArrowheads="1"/>
            </p:cNvSpPr>
            <p:nvPr/>
          </p:nvSpPr>
          <p:spPr bwMode="auto">
            <a:xfrm>
              <a:off x="-5422217" y="-541537"/>
              <a:ext cx="14710096" cy="21796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16400">
                  <a:solidFill>
                    <a:srgbClr val="00B0F0"/>
                  </a:solidFill>
                  <a:latin typeface="Calibri" pitchFamily="34" charset="0"/>
                  <a:cs typeface="Arial" pitchFamily="34" charset="0"/>
                </a:rPr>
                <a:t>                    </a:t>
              </a:r>
              <a:r>
                <a:rPr lang="en-US" altLang="en-US" sz="13700">
                  <a:solidFill>
                    <a:srgbClr val="00B0F0"/>
                  </a:solidFill>
                  <a:latin typeface="Calibri" pitchFamily="34" charset="0"/>
                  <a:cs typeface="Arial" pitchFamily="34" charset="0"/>
                </a:rPr>
                <a:t>Experience</a:t>
              </a:r>
              <a:r>
                <a:rPr lang="en-US" altLang="en-US" sz="9400">
                  <a:solidFill>
                    <a:srgbClr val="00B0F0"/>
                  </a:solidFill>
                  <a:latin typeface="Calibri" pitchFamily="34" charset="0"/>
                  <a:cs typeface="Arial" pitchFamily="34" charset="0"/>
                </a:rPr>
                <a:t> in </a:t>
              </a:r>
              <a:r>
                <a:rPr lang="en-US" altLang="en-US" sz="9400" i="1">
                  <a:solidFill>
                    <a:srgbClr val="00B0F0"/>
                  </a:solidFill>
                  <a:latin typeface="Calibri" pitchFamily="34" charset="0"/>
                  <a:cs typeface="Arial" pitchFamily="34" charset="0"/>
                </a:rPr>
                <a:t>Motion</a:t>
              </a:r>
            </a:p>
          </p:txBody>
        </p:sp>
        <p:sp>
          <p:nvSpPr>
            <p:cNvPr id="133136" name="TextBox 19"/>
            <p:cNvSpPr txBox="1">
              <a:spLocks noChangeArrowheads="1"/>
            </p:cNvSpPr>
            <p:nvPr/>
          </p:nvSpPr>
          <p:spPr bwMode="auto">
            <a:xfrm>
              <a:off x="-15687122" y="-415886"/>
              <a:ext cx="14454564" cy="21796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16400">
                  <a:solidFill>
                    <a:srgbClr val="00152C"/>
                  </a:solidFill>
                  <a:latin typeface="Calibri" pitchFamily="34" charset="0"/>
                  <a:cs typeface="Arial" pitchFamily="34" charset="0"/>
                </a:rPr>
                <a:t>                      </a:t>
              </a:r>
              <a:r>
                <a:rPr lang="en-US" altLang="en-US" sz="16400">
                  <a:solidFill>
                    <a:srgbClr val="EE3E96"/>
                  </a:solidFill>
                  <a:latin typeface="Calibri" pitchFamily="34" charset="0"/>
                  <a:cs typeface="Arial" pitchFamily="34" charset="0"/>
                </a:rPr>
                <a:t>Design</a:t>
              </a:r>
              <a:r>
                <a:rPr lang="en-US" altLang="en-US" sz="9400">
                  <a:solidFill>
                    <a:srgbClr val="EE3E96"/>
                  </a:solidFill>
                  <a:latin typeface="Calibri" pitchFamily="34" charset="0"/>
                  <a:cs typeface="Arial" pitchFamily="34" charset="0"/>
                </a:rPr>
                <a:t> in </a:t>
              </a:r>
              <a:r>
                <a:rPr lang="en-US" altLang="en-US" sz="9400" i="1">
                  <a:solidFill>
                    <a:srgbClr val="EE3E96"/>
                  </a:solidFill>
                  <a:latin typeface="Calibri" pitchFamily="34" charset="0"/>
                  <a:cs typeface="Arial" pitchFamily="34" charset="0"/>
                </a:rPr>
                <a:t>Motion</a:t>
              </a:r>
            </a:p>
          </p:txBody>
        </p:sp>
        <p:sp>
          <p:nvSpPr>
            <p:cNvPr id="133137" name="TextBox 20"/>
            <p:cNvSpPr txBox="1">
              <a:spLocks noChangeArrowheads="1"/>
            </p:cNvSpPr>
            <p:nvPr/>
          </p:nvSpPr>
          <p:spPr bwMode="auto">
            <a:xfrm>
              <a:off x="-27942941" y="-197649"/>
              <a:ext cx="16677121" cy="19300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lnSpc>
                  <a:spcPts val="17138"/>
                </a:lnSpc>
              </a:pPr>
              <a:r>
                <a:rPr lang="en-US" altLang="en-US" sz="13100" b="1">
                  <a:solidFill>
                    <a:srgbClr val="00B0F0"/>
                  </a:solidFill>
                  <a:latin typeface="Calibri" pitchFamily="34" charset="0"/>
                  <a:cs typeface="Arial" pitchFamily="34" charset="0"/>
                </a:rPr>
                <a:t>Business</a:t>
              </a:r>
              <a:r>
                <a:rPr lang="en-US" altLang="en-US" sz="15300">
                  <a:solidFill>
                    <a:srgbClr val="00B0F0"/>
                  </a:solidFill>
                  <a:latin typeface="Calibri" pitchFamily="34" charset="0"/>
                  <a:cs typeface="Arial" pitchFamily="34" charset="0"/>
                </a:rPr>
                <a:t> </a:t>
              </a:r>
              <a:r>
                <a:rPr lang="en-US" altLang="en-US" sz="9900">
                  <a:solidFill>
                    <a:srgbClr val="00B0F0"/>
                  </a:solidFill>
                  <a:latin typeface="Calibri" pitchFamily="34" charset="0"/>
                  <a:cs typeface="Arial" pitchFamily="34" charset="0"/>
                </a:rPr>
                <a:t>in </a:t>
              </a:r>
              <a:r>
                <a:rPr lang="en-US" altLang="en-US" sz="9900" i="1">
                  <a:solidFill>
                    <a:srgbClr val="00B0F0"/>
                  </a:solidFill>
                  <a:latin typeface="Calibri" pitchFamily="34" charset="0"/>
                  <a:cs typeface="Arial" pitchFamily="34" charset="0"/>
                </a:rPr>
                <a:t>Motion</a:t>
              </a:r>
              <a:r>
                <a:rPr lang="en-US" altLang="en-US" sz="9600" b="1">
                  <a:solidFill>
                    <a:srgbClr val="00152C"/>
                  </a:solidFill>
                  <a:latin typeface="Calibri" pitchFamily="34" charset="0"/>
                  <a:cs typeface="Arial" pitchFamily="34" charset="0"/>
                </a:rPr>
                <a:t> </a:t>
              </a:r>
              <a:r>
                <a:rPr lang="en-US" altLang="en-US" sz="9900" i="1">
                  <a:solidFill>
                    <a:srgbClr val="00B0F0"/>
                  </a:solidFill>
                  <a:latin typeface="Calibri" pitchFamily="34" charset="0"/>
                  <a:cs typeface="Arial" pitchFamily="34" charset="0"/>
                </a:rPr>
                <a:t>          </a:t>
              </a:r>
              <a:r>
                <a:rPr lang="en-US" altLang="en-US" sz="9900" b="1">
                  <a:solidFill>
                    <a:srgbClr val="17AF4B"/>
                  </a:solidFill>
                  <a:latin typeface="Calibri" pitchFamily="34" charset="0"/>
                  <a:cs typeface="Arial" pitchFamily="34" charset="0"/>
                </a:rPr>
                <a:t>Experience in </a:t>
              </a:r>
              <a:r>
                <a:rPr lang="en-US" altLang="en-US" sz="11600" b="1" i="1">
                  <a:solidFill>
                    <a:srgbClr val="17AF4B"/>
                  </a:solidFill>
                  <a:latin typeface="Calibri" pitchFamily="34" charset="0"/>
                  <a:cs typeface="Arial" pitchFamily="34" charset="0"/>
                </a:rPr>
                <a:t>Motion</a:t>
              </a:r>
              <a:endParaRPr lang="en-US" altLang="en-US" sz="9600" i="1">
                <a:solidFill>
                  <a:srgbClr val="00B0F0"/>
                </a:solidFill>
                <a:latin typeface="Calibri" pitchFamily="34" charset="0"/>
                <a:cs typeface="Arial" pitchFamily="34" charset="0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10601422" y="-29634"/>
            <a:ext cx="3951157" cy="1471613"/>
            <a:chOff x="10679242" y="-29634"/>
            <a:chExt cx="4733925" cy="1471613"/>
          </a:xfrm>
        </p:grpSpPr>
        <p:sp>
          <p:nvSpPr>
            <p:cNvPr id="17" name="Text Placeholder 16"/>
            <p:cNvSpPr txBox="1">
              <a:spLocks/>
            </p:cNvSpPr>
            <p:nvPr/>
          </p:nvSpPr>
          <p:spPr bwMode="auto">
            <a:xfrm>
              <a:off x="10679242" y="-29634"/>
              <a:ext cx="4733925" cy="788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30615" tIns="65308" rIns="130615" bIns="65308"/>
            <a:lstStyle>
              <a:lvl1pPr marL="15240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1304925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1304925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1304925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1304925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lnSpc>
                  <a:spcPts val="6000"/>
                </a:lnSpc>
                <a:buFont typeface="Wingdings" pitchFamily="2" charset="2"/>
                <a:buNone/>
              </a:pPr>
              <a:r>
                <a:rPr lang="en-US" altLang="en-US" sz="3400" b="1" dirty="0" err="1">
                  <a:solidFill>
                    <a:srgbClr val="0050A6"/>
                  </a:solidFill>
                  <a:latin typeface="Lubalin Demi for IBM" pitchFamily="1" charset="0"/>
                </a:rPr>
                <a:t>V</a:t>
              </a:r>
              <a:r>
                <a:rPr lang="en-US" altLang="en-US" sz="3400" b="1" dirty="0" err="1" smtClean="0">
                  <a:solidFill>
                    <a:srgbClr val="0050A6"/>
                  </a:solidFill>
                  <a:latin typeface="Lubalin Demi for IBM" pitchFamily="1" charset="0"/>
                </a:rPr>
                <a:t>ania</a:t>
              </a:r>
              <a:r>
                <a:rPr lang="en-US" altLang="en-US" sz="3400" b="1" dirty="0" smtClean="0">
                  <a:solidFill>
                    <a:srgbClr val="0050A6"/>
                  </a:solidFill>
                  <a:latin typeface="Lubalin Demi for IBM" pitchFamily="1" charset="0"/>
                </a:rPr>
                <a:t> </a:t>
              </a:r>
              <a:r>
                <a:rPr lang="en-US" altLang="en-US" sz="3400" b="1" dirty="0" err="1" smtClean="0">
                  <a:solidFill>
                    <a:srgbClr val="0050A6"/>
                  </a:solidFill>
                  <a:latin typeface="Lubalin Demi for IBM" pitchFamily="1" charset="0"/>
                </a:rPr>
                <a:t>Curiati</a:t>
              </a:r>
              <a:endParaRPr lang="pt-BR" altLang="en-US" sz="3400" b="1" dirty="0">
                <a:solidFill>
                  <a:srgbClr val="0050A6"/>
                </a:solidFill>
                <a:latin typeface="Lubalin Demi for IBM" pitchFamily="1" charset="0"/>
              </a:endParaRPr>
            </a:p>
          </p:txBody>
        </p:sp>
        <p:sp>
          <p:nvSpPr>
            <p:cNvPr id="19" name="Text Placeholder 16"/>
            <p:cNvSpPr txBox="1">
              <a:spLocks/>
            </p:cNvSpPr>
            <p:nvPr/>
          </p:nvSpPr>
          <p:spPr bwMode="auto">
            <a:xfrm>
              <a:off x="10699735" y="724429"/>
              <a:ext cx="3930665" cy="717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30615" tIns="65308" rIns="130615" bIns="65308"/>
            <a:lstStyle>
              <a:lvl1pPr marL="15240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1304925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1304925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1304925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1304925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pt-BR" altLang="en-US" sz="1900" b="1" dirty="0" smtClean="0">
                  <a:solidFill>
                    <a:srgbClr val="001934"/>
                  </a:solidFill>
                  <a:latin typeface="Lubalin Demi for IBM" pitchFamily="1" charset="0"/>
                  <a:cs typeface="Arial" pitchFamily="34" charset="0"/>
                </a:rPr>
                <a:t>Diretora</a:t>
              </a:r>
            </a:p>
            <a:p>
              <a:pPr eaLnBrk="1" hangingPunct="1"/>
              <a:r>
                <a:rPr lang="pt-BR" altLang="en-US" sz="1900" b="1" dirty="0" smtClean="0">
                  <a:solidFill>
                    <a:srgbClr val="001934"/>
                  </a:solidFill>
                  <a:latin typeface="Lubalin Demi for IBM" pitchFamily="1" charset="0"/>
                  <a:cs typeface="Arial" pitchFamily="34" charset="0"/>
                </a:rPr>
                <a:t>Business Partner Brazil</a:t>
              </a:r>
              <a:endParaRPr lang="pt-BR" altLang="en-US" sz="1900" b="1" dirty="0">
                <a:solidFill>
                  <a:srgbClr val="001934"/>
                </a:solidFill>
                <a:latin typeface="Lubalin Demi for IBM" pitchFamily="1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38543376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48802 0.02245 L 6.49827 0.02245 " pathEditMode="relative" rAng="0" ptsTypes="AA">
                                      <p:cBhvr>
                                        <p:cTn id="6" dur="2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50503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35" presetClass="path" presetSubtype="0" repeatCount="indefinite" accel="50000" decel="50000" autoRev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33789 -0.00405 L -5.70779 -0.00405 " pathEditMode="relative" rAng="0" ptsTypes="AA">
                                      <p:cBhvr>
                                        <p:cTn id="8" dur="2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1849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creen Shot 2015-05-10 at 10.57.51 A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4691244" cy="822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0995568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1334805" y="1943885"/>
            <a:ext cx="12303375" cy="5872067"/>
            <a:chOff x="213991" y="2129568"/>
            <a:chExt cx="9136921" cy="4360804"/>
          </a:xfrm>
        </p:grpSpPr>
        <p:sp>
          <p:nvSpPr>
            <p:cNvPr id="4" name="TextBox 1"/>
            <p:cNvSpPr txBox="1">
              <a:spLocks noChangeArrowheads="1"/>
            </p:cNvSpPr>
            <p:nvPr/>
          </p:nvSpPr>
          <p:spPr bwMode="auto">
            <a:xfrm>
              <a:off x="213991" y="3978680"/>
              <a:ext cx="2104398" cy="9812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xmlns="" w="38100" algn="ctr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40000" dist="20000" dir="5400000" rotWithShape="0">
                      <a:srgbClr val="000000">
                        <a:alpha val="37999"/>
                      </a:srgbClr>
                    </a:outerShdw>
                  </a:effectLst>
                </a14:hiddenEffects>
              </a:ext>
            </a:extLst>
          </p:spPr>
          <p:txBody>
            <a:bodyPr tIns="91440" bIns="91440" anchor="t"/>
            <a:lstStyle>
              <a:lvl1pPr eaLnBrk="0" hangingPunct="0"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1588" lvl="1" algn="r">
                <a:spcAft>
                  <a:spcPct val="20000"/>
                </a:spcAft>
                <a:buClr>
                  <a:schemeClr val="tx1"/>
                </a:buClr>
                <a:defRPr/>
              </a:pPr>
              <a:r>
                <a:rPr lang="en-US" sz="1800" b="1" i="1" dirty="0" smtClean="0">
                  <a:solidFill>
                    <a:srgbClr val="FFC000"/>
                  </a:solidFill>
                  <a:latin typeface="Arial" charset="0"/>
                  <a:ea typeface="MS PGothic" charset="0"/>
                  <a:cs typeface="MS PGothic" charset="0"/>
                </a:rPr>
                <a:t>Self-supported learning and predictive capabilities</a:t>
              </a:r>
              <a:endParaRPr lang="en-US" sz="1800" b="1" i="1" dirty="0">
                <a:solidFill>
                  <a:srgbClr val="FFC000"/>
                </a:solidFill>
                <a:latin typeface="Arial" charset="0"/>
                <a:ea typeface="MS PGothic" charset="0"/>
                <a:cs typeface="MS PGothic" charset="0"/>
              </a:endParaRPr>
            </a:p>
          </p:txBody>
        </p:sp>
        <p:sp>
          <p:nvSpPr>
            <p:cNvPr id="5" name="TextBox 1"/>
            <p:cNvSpPr txBox="1">
              <a:spLocks noChangeArrowheads="1"/>
            </p:cNvSpPr>
            <p:nvPr/>
          </p:nvSpPr>
          <p:spPr bwMode="auto">
            <a:xfrm>
              <a:off x="5203625" y="5932003"/>
              <a:ext cx="2312361" cy="4303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xmlns="" w="38100" algn="ctr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40000" dist="20000" dir="5400000" rotWithShape="0">
                      <a:srgbClr val="000000">
                        <a:alpha val="37999"/>
                      </a:srgbClr>
                    </a:outerShdw>
                  </a:effectLst>
                </a14:hiddenEffects>
              </a:ext>
            </a:extLst>
          </p:spPr>
          <p:txBody>
            <a:bodyPr tIns="91440" bIns="91440" anchor="t"/>
            <a:lstStyle>
              <a:lvl1pPr eaLnBrk="0" hangingPunct="0"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1588" lvl="1">
                <a:spcAft>
                  <a:spcPct val="20000"/>
                </a:spcAft>
                <a:buClr>
                  <a:schemeClr val="tx1"/>
                </a:buClr>
                <a:defRPr/>
              </a:pPr>
              <a:r>
                <a:rPr lang="en-US" sz="1800" b="1" i="1" dirty="0">
                  <a:solidFill>
                    <a:srgbClr val="FFC000"/>
                  </a:solidFill>
                  <a:latin typeface="Arial" charset="0"/>
                  <a:ea typeface="MS PGothic" charset="0"/>
                  <a:cs typeface="MS PGothic" charset="0"/>
                </a:rPr>
                <a:t>Experience is calibrated and relevant to </a:t>
              </a:r>
              <a:r>
                <a:rPr lang="en-US" sz="1800" b="1" i="1" dirty="0" smtClean="0">
                  <a:solidFill>
                    <a:srgbClr val="FFC000"/>
                  </a:solidFill>
                  <a:latin typeface="Arial" charset="0"/>
                  <a:ea typeface="MS PGothic" charset="0"/>
                  <a:cs typeface="MS PGothic" charset="0"/>
                </a:rPr>
                <a:t>actions and needs</a:t>
              </a:r>
              <a:endParaRPr lang="en-US" sz="1800" b="1" i="1" dirty="0">
                <a:solidFill>
                  <a:srgbClr val="FFC000"/>
                </a:solidFill>
                <a:latin typeface="Arial" charset="0"/>
                <a:ea typeface="MS PGothic" charset="0"/>
                <a:cs typeface="MS PGothic" charset="0"/>
              </a:endParaRPr>
            </a:p>
          </p:txBody>
        </p:sp>
        <p:sp>
          <p:nvSpPr>
            <p:cNvPr id="6" name="TextBox 1"/>
            <p:cNvSpPr txBox="1">
              <a:spLocks noChangeArrowheads="1"/>
            </p:cNvSpPr>
            <p:nvPr/>
          </p:nvSpPr>
          <p:spPr bwMode="auto">
            <a:xfrm>
              <a:off x="6906832" y="4107180"/>
              <a:ext cx="2444080" cy="5619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xmlns="" w="38100" algn="ctr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40000" dist="20000" dir="5400000" rotWithShape="0">
                      <a:srgbClr val="000000">
                        <a:alpha val="37999"/>
                      </a:srgbClr>
                    </a:outerShdw>
                  </a:effectLst>
                </a14:hiddenEffects>
              </a:ext>
            </a:extLst>
          </p:spPr>
          <p:txBody>
            <a:bodyPr tIns="91440" bIns="91440" anchor="t"/>
            <a:lstStyle>
              <a:lvl1pPr eaLnBrk="0" hangingPunct="0"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1588" lvl="1">
                <a:spcAft>
                  <a:spcPct val="20000"/>
                </a:spcAft>
                <a:buClr>
                  <a:schemeClr val="tx1"/>
                </a:buClr>
                <a:defRPr/>
              </a:pPr>
              <a:r>
                <a:rPr lang="en-US" sz="1800" b="1" i="1" dirty="0">
                  <a:solidFill>
                    <a:srgbClr val="FFC000"/>
                  </a:solidFill>
                  <a:latin typeface="Arial" charset="0"/>
                  <a:ea typeface="MS PGothic" charset="0"/>
                  <a:cs typeface="MS PGothic" charset="0"/>
                </a:rPr>
                <a:t>Everyone and everything is </a:t>
              </a:r>
              <a:r>
                <a:rPr lang="en-US" sz="1800" b="1" i="1" dirty="0" smtClean="0">
                  <a:solidFill>
                    <a:srgbClr val="FFC000"/>
                  </a:solidFill>
                  <a:latin typeface="Arial" charset="0"/>
                  <a:ea typeface="MS PGothic" charset="0"/>
                  <a:cs typeface="MS PGothic" charset="0"/>
                </a:rPr>
                <a:t>mutually inter-dependent</a:t>
              </a:r>
              <a:endParaRPr lang="en-US" sz="1800" b="1" i="1" dirty="0">
                <a:solidFill>
                  <a:srgbClr val="FFC000"/>
                </a:solidFill>
                <a:latin typeface="Arial" charset="0"/>
                <a:ea typeface="MS PGothic" charset="0"/>
                <a:cs typeface="MS PGothic" charset="0"/>
              </a:endParaRPr>
            </a:p>
          </p:txBody>
        </p:sp>
        <p:sp>
          <p:nvSpPr>
            <p:cNvPr id="7" name="TextBox 1"/>
            <p:cNvSpPr txBox="1">
              <a:spLocks noChangeArrowheads="1"/>
            </p:cNvSpPr>
            <p:nvPr/>
          </p:nvSpPr>
          <p:spPr bwMode="auto">
            <a:xfrm>
              <a:off x="5218074" y="2129568"/>
              <a:ext cx="2254569" cy="6802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2"/>
                  </a:solidFill>
                </a14:hiddenFill>
              </a:ext>
              <a:ext uri="{91240B29-F687-4f45-9708-019B960494DF}">
                <a14:hiddenLine xmlns:a14="http://schemas.microsoft.com/office/drawing/2010/main" xmlns="" w="38100" algn="ctr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40000" dist="20000" dir="5400000" rotWithShape="0">
                      <a:srgbClr val="000000">
                        <a:alpha val="37999"/>
                      </a:srgbClr>
                    </a:outerShdw>
                  </a:effectLst>
                </a14:hiddenEffects>
              </a:ext>
            </a:extLst>
          </p:spPr>
          <p:txBody>
            <a:bodyPr tIns="91440" bIns="91440" anchor="t"/>
            <a:lstStyle>
              <a:lvl1pPr eaLnBrk="0" hangingPunct="0"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1588" lvl="1">
                <a:spcAft>
                  <a:spcPct val="20000"/>
                </a:spcAft>
                <a:buClr>
                  <a:schemeClr val="tx1"/>
                </a:buClr>
                <a:defRPr/>
              </a:pPr>
              <a:r>
                <a:rPr lang="en-US" sz="1800" b="1" i="1" dirty="0" smtClean="0">
                  <a:solidFill>
                    <a:srgbClr val="FFC000"/>
                  </a:solidFill>
                  <a:latin typeface="Arial" charset="0"/>
                  <a:ea typeface="MS PGothic" charset="0"/>
                  <a:cs typeface="MS PGothic" charset="0"/>
                </a:rPr>
                <a:t>The ecosystem is collaborative and seamless</a:t>
              </a:r>
              <a:endParaRPr lang="en-US" sz="1800" b="1" i="1" dirty="0">
                <a:solidFill>
                  <a:srgbClr val="FFC000"/>
                </a:solidFill>
                <a:latin typeface="Arial" charset="0"/>
                <a:ea typeface="MS PGothic" charset="0"/>
                <a:cs typeface="MS PGothic" charset="0"/>
              </a:endParaRPr>
            </a:p>
          </p:txBody>
        </p:sp>
        <p:sp>
          <p:nvSpPr>
            <p:cNvPr id="8" name="Down Arrow 7"/>
            <p:cNvSpPr/>
            <p:nvPr/>
          </p:nvSpPr>
          <p:spPr bwMode="auto">
            <a:xfrm rot="10800000">
              <a:off x="4356413" y="5138003"/>
              <a:ext cx="427091" cy="472179"/>
            </a:xfrm>
            <a:prstGeom prst="downArrow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114300" marR="0" indent="-11430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Char char="§"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9" name="Down Arrow 8"/>
            <p:cNvSpPr/>
            <p:nvPr/>
          </p:nvSpPr>
          <p:spPr bwMode="auto">
            <a:xfrm>
              <a:off x="4356412" y="3112196"/>
              <a:ext cx="427091" cy="472179"/>
            </a:xfrm>
            <a:prstGeom prst="downArrow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114300" marR="0" indent="-11430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Char char="§"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0" name="Down Arrow 9"/>
            <p:cNvSpPr/>
            <p:nvPr/>
          </p:nvSpPr>
          <p:spPr bwMode="auto">
            <a:xfrm rot="5400000">
              <a:off x="5387582" y="4091327"/>
              <a:ext cx="427091" cy="472179"/>
            </a:xfrm>
            <a:prstGeom prst="downArrow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114300" marR="0" indent="-11430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Char char="§"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1" name="Down Arrow 10"/>
            <p:cNvSpPr/>
            <p:nvPr/>
          </p:nvSpPr>
          <p:spPr bwMode="auto">
            <a:xfrm rot="16200000">
              <a:off x="3365490" y="4091327"/>
              <a:ext cx="427091" cy="472179"/>
            </a:xfrm>
            <a:prstGeom prst="downArrow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114300" marR="0" indent="-11430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Char char="§"/>
                <a:tabLst/>
              </a:pPr>
              <a:endParaRPr kumimoji="0" 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grpSp>
          <p:nvGrpSpPr>
            <p:cNvPr id="12" name="Group 11"/>
            <p:cNvGrpSpPr/>
            <p:nvPr/>
          </p:nvGrpSpPr>
          <p:grpSpPr>
            <a:xfrm>
              <a:off x="2469008" y="2241395"/>
              <a:ext cx="4248976" cy="4248977"/>
              <a:chOff x="2279439" y="1808613"/>
              <a:chExt cx="4659457" cy="4659457"/>
            </a:xfrm>
          </p:grpSpPr>
          <p:sp>
            <p:nvSpPr>
              <p:cNvPr id="26" name="Freeform 25"/>
              <p:cNvSpPr/>
              <p:nvPr/>
            </p:nvSpPr>
            <p:spPr>
              <a:xfrm>
                <a:off x="2815857" y="2345031"/>
                <a:ext cx="3560838" cy="3586947"/>
              </a:xfrm>
              <a:custGeom>
                <a:avLst/>
                <a:gdLst>
                  <a:gd name="connsiteX0" fmla="*/ 0 w 1651533"/>
                  <a:gd name="connsiteY0" fmla="*/ 825767 h 1651533"/>
                  <a:gd name="connsiteX1" fmla="*/ 825767 w 1651533"/>
                  <a:gd name="connsiteY1" fmla="*/ 0 h 1651533"/>
                  <a:gd name="connsiteX2" fmla="*/ 1651534 w 1651533"/>
                  <a:gd name="connsiteY2" fmla="*/ 825767 h 1651533"/>
                  <a:gd name="connsiteX3" fmla="*/ 825767 w 1651533"/>
                  <a:gd name="connsiteY3" fmla="*/ 1651534 h 1651533"/>
                  <a:gd name="connsiteX4" fmla="*/ 0 w 1651533"/>
                  <a:gd name="connsiteY4" fmla="*/ 825767 h 1651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51533" h="1651533">
                    <a:moveTo>
                      <a:pt x="0" y="825767"/>
                    </a:moveTo>
                    <a:cubicBezTo>
                      <a:pt x="0" y="369708"/>
                      <a:pt x="369708" y="0"/>
                      <a:pt x="825767" y="0"/>
                    </a:cubicBezTo>
                    <a:cubicBezTo>
                      <a:pt x="1281826" y="0"/>
                      <a:pt x="1651534" y="369708"/>
                      <a:pt x="1651534" y="825767"/>
                    </a:cubicBezTo>
                    <a:cubicBezTo>
                      <a:pt x="1651534" y="1281826"/>
                      <a:pt x="1281826" y="1651534"/>
                      <a:pt x="825767" y="1651534"/>
                    </a:cubicBezTo>
                    <a:cubicBezTo>
                      <a:pt x="369708" y="1651534"/>
                      <a:pt x="0" y="1281826"/>
                      <a:pt x="0" y="825767"/>
                    </a:cubicBezTo>
                    <a:close/>
                  </a:path>
                </a:pathLst>
              </a:custGeom>
              <a:solidFill>
                <a:schemeClr val="tx1">
                  <a:alpha val="46000"/>
                </a:schemeClr>
              </a:solidFill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62181" tIns="262181" rIns="262181" bIns="262181" numCol="1" spcCol="1270" anchor="ctr" anchorCtr="0">
                <a:noAutofit/>
              </a:bodyPr>
              <a:lstStyle/>
              <a:p>
                <a:pPr lvl="0"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800" kern="1200" dirty="0"/>
              </a:p>
            </p:txBody>
          </p:sp>
          <p:sp>
            <p:nvSpPr>
              <p:cNvPr id="13" name="Block Arc 12"/>
              <p:cNvSpPr/>
              <p:nvPr/>
            </p:nvSpPr>
            <p:spPr>
              <a:xfrm>
                <a:off x="2815857" y="2345031"/>
                <a:ext cx="3586620" cy="3586620"/>
              </a:xfrm>
              <a:prstGeom prst="blockArc">
                <a:avLst>
                  <a:gd name="adj1" fmla="val 10800000"/>
                  <a:gd name="adj2" fmla="val 16200000"/>
                  <a:gd name="adj3" fmla="val 4642"/>
                </a:avLst>
              </a:prstGeom>
              <a:solidFill>
                <a:schemeClr val="accent1">
                  <a:tint val="60000"/>
                  <a:hueOff val="0"/>
                  <a:satOff val="0"/>
                  <a:lumOff val="0"/>
                  <a:alpha val="60000"/>
                </a:schemeClr>
              </a:solidFill>
            </p:spPr>
            <p:style>
              <a:ln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4" name="Block Arc 13"/>
              <p:cNvSpPr/>
              <p:nvPr/>
            </p:nvSpPr>
            <p:spPr>
              <a:xfrm>
                <a:off x="2815857" y="2345031"/>
                <a:ext cx="3586620" cy="3586620"/>
              </a:xfrm>
              <a:prstGeom prst="blockArc">
                <a:avLst>
                  <a:gd name="adj1" fmla="val 5400000"/>
                  <a:gd name="adj2" fmla="val 10800000"/>
                  <a:gd name="adj3" fmla="val 4642"/>
                </a:avLst>
              </a:prstGeom>
              <a:solidFill>
                <a:schemeClr val="accent1">
                  <a:tint val="60000"/>
                  <a:hueOff val="0"/>
                  <a:satOff val="0"/>
                  <a:lumOff val="0"/>
                  <a:alpha val="60000"/>
                </a:schemeClr>
              </a:solidFill>
            </p:spPr>
            <p:style>
              <a:ln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5" name="Block Arc 14"/>
              <p:cNvSpPr/>
              <p:nvPr/>
            </p:nvSpPr>
            <p:spPr>
              <a:xfrm>
                <a:off x="2815857" y="2345031"/>
                <a:ext cx="3586620" cy="3586620"/>
              </a:xfrm>
              <a:prstGeom prst="blockArc">
                <a:avLst>
                  <a:gd name="adj1" fmla="val 0"/>
                  <a:gd name="adj2" fmla="val 5400000"/>
                  <a:gd name="adj3" fmla="val 4642"/>
                </a:avLst>
              </a:prstGeom>
              <a:solidFill>
                <a:schemeClr val="accent1">
                  <a:tint val="60000"/>
                  <a:hueOff val="0"/>
                  <a:satOff val="0"/>
                  <a:lumOff val="0"/>
                  <a:alpha val="60000"/>
                </a:schemeClr>
              </a:solidFill>
            </p:spPr>
            <p:style>
              <a:ln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6" name="Block Arc 15"/>
              <p:cNvSpPr/>
              <p:nvPr/>
            </p:nvSpPr>
            <p:spPr>
              <a:xfrm>
                <a:off x="2815857" y="2345031"/>
                <a:ext cx="3586620" cy="3586620"/>
              </a:xfrm>
              <a:prstGeom prst="blockArc">
                <a:avLst>
                  <a:gd name="adj1" fmla="val 16200000"/>
                  <a:gd name="adj2" fmla="val 0"/>
                  <a:gd name="adj3" fmla="val 4642"/>
                </a:avLst>
              </a:prstGeom>
              <a:solidFill>
                <a:schemeClr val="accent1">
                  <a:tint val="60000"/>
                  <a:hueOff val="0"/>
                  <a:satOff val="0"/>
                  <a:lumOff val="0"/>
                  <a:alpha val="60000"/>
                </a:schemeClr>
              </a:solidFill>
            </p:spPr>
            <p:style>
              <a:ln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7" name="Freeform 16"/>
              <p:cNvSpPr/>
              <p:nvPr/>
            </p:nvSpPr>
            <p:spPr>
              <a:xfrm>
                <a:off x="3783401" y="3312575"/>
                <a:ext cx="1651533" cy="1651533"/>
              </a:xfrm>
              <a:custGeom>
                <a:avLst/>
                <a:gdLst>
                  <a:gd name="connsiteX0" fmla="*/ 0 w 1651533"/>
                  <a:gd name="connsiteY0" fmla="*/ 825767 h 1651533"/>
                  <a:gd name="connsiteX1" fmla="*/ 825767 w 1651533"/>
                  <a:gd name="connsiteY1" fmla="*/ 0 h 1651533"/>
                  <a:gd name="connsiteX2" fmla="*/ 1651534 w 1651533"/>
                  <a:gd name="connsiteY2" fmla="*/ 825767 h 1651533"/>
                  <a:gd name="connsiteX3" fmla="*/ 825767 w 1651533"/>
                  <a:gd name="connsiteY3" fmla="*/ 1651534 h 1651533"/>
                  <a:gd name="connsiteX4" fmla="*/ 0 w 1651533"/>
                  <a:gd name="connsiteY4" fmla="*/ 825767 h 1651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51533" h="1651533">
                    <a:moveTo>
                      <a:pt x="0" y="825767"/>
                    </a:moveTo>
                    <a:cubicBezTo>
                      <a:pt x="0" y="369708"/>
                      <a:pt x="369708" y="0"/>
                      <a:pt x="825767" y="0"/>
                    </a:cubicBezTo>
                    <a:cubicBezTo>
                      <a:pt x="1281826" y="0"/>
                      <a:pt x="1651534" y="369708"/>
                      <a:pt x="1651534" y="825767"/>
                    </a:cubicBezTo>
                    <a:cubicBezTo>
                      <a:pt x="1651534" y="1281826"/>
                      <a:pt x="1281826" y="1651534"/>
                      <a:pt x="825767" y="1651534"/>
                    </a:cubicBezTo>
                    <a:cubicBezTo>
                      <a:pt x="369708" y="1651534"/>
                      <a:pt x="0" y="1281826"/>
                      <a:pt x="0" y="825767"/>
                    </a:cubicBez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262181" tIns="262181" rIns="262181" bIns="262181" numCol="1" spcCol="1270" anchor="ctr" anchorCtr="0">
                <a:noAutofit/>
              </a:bodyPr>
              <a:lstStyle/>
              <a:p>
                <a:pPr lvl="0" algn="ctr" defTabSz="7112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800" kern="1200" dirty="0" smtClean="0"/>
                  <a:t>Everyone to </a:t>
                </a:r>
                <a:r>
                  <a:rPr lang="en-US" sz="2000" kern="1200" dirty="0" smtClean="0"/>
                  <a:t>everyone</a:t>
                </a:r>
                <a:endParaRPr lang="en-US" sz="1800" kern="1200" dirty="0"/>
              </a:p>
            </p:txBody>
          </p:sp>
          <p:sp>
            <p:nvSpPr>
              <p:cNvPr id="18" name="Freeform 17"/>
              <p:cNvSpPr/>
              <p:nvPr/>
            </p:nvSpPr>
            <p:spPr>
              <a:xfrm>
                <a:off x="4031131" y="1808613"/>
                <a:ext cx="1156073" cy="1156073"/>
              </a:xfrm>
              <a:custGeom>
                <a:avLst/>
                <a:gdLst>
                  <a:gd name="connsiteX0" fmla="*/ 0 w 1156073"/>
                  <a:gd name="connsiteY0" fmla="*/ 578037 h 1156073"/>
                  <a:gd name="connsiteX1" fmla="*/ 578037 w 1156073"/>
                  <a:gd name="connsiteY1" fmla="*/ 0 h 1156073"/>
                  <a:gd name="connsiteX2" fmla="*/ 1156074 w 1156073"/>
                  <a:gd name="connsiteY2" fmla="*/ 578037 h 1156073"/>
                  <a:gd name="connsiteX3" fmla="*/ 578037 w 1156073"/>
                  <a:gd name="connsiteY3" fmla="*/ 1156074 h 1156073"/>
                  <a:gd name="connsiteX4" fmla="*/ 0 w 1156073"/>
                  <a:gd name="connsiteY4" fmla="*/ 578037 h 11560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56073" h="1156073">
                    <a:moveTo>
                      <a:pt x="0" y="578037"/>
                    </a:moveTo>
                    <a:cubicBezTo>
                      <a:pt x="0" y="258796"/>
                      <a:pt x="258796" y="0"/>
                      <a:pt x="578037" y="0"/>
                    </a:cubicBezTo>
                    <a:cubicBezTo>
                      <a:pt x="897278" y="0"/>
                      <a:pt x="1156074" y="258796"/>
                      <a:pt x="1156074" y="578037"/>
                    </a:cubicBezTo>
                    <a:cubicBezTo>
                      <a:pt x="1156074" y="897278"/>
                      <a:pt x="897278" y="1156074"/>
                      <a:pt x="578037" y="1156074"/>
                    </a:cubicBezTo>
                    <a:cubicBezTo>
                      <a:pt x="258796" y="1156074"/>
                      <a:pt x="0" y="897278"/>
                      <a:pt x="0" y="578037"/>
                    </a:cubicBez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none" lIns="183273" tIns="183273" rIns="183273" bIns="183273" numCol="1" spcCol="1270" anchor="ctr" anchorCtr="0">
                <a:noAutofit/>
              </a:bodyPr>
              <a:lstStyle/>
              <a:p>
                <a:pPr lvl="0" algn="ctr" defTabSz="466725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kern="1200" dirty="0" smtClean="0"/>
                  <a:t>Orchestrated</a:t>
                </a:r>
                <a:endParaRPr lang="en-US" sz="1400" kern="1200" dirty="0"/>
              </a:p>
            </p:txBody>
          </p:sp>
          <p:sp>
            <p:nvSpPr>
              <p:cNvPr id="19" name="Freeform 18"/>
              <p:cNvSpPr/>
              <p:nvPr/>
            </p:nvSpPr>
            <p:spPr>
              <a:xfrm>
                <a:off x="5782823" y="3560305"/>
                <a:ext cx="1156073" cy="1156073"/>
              </a:xfrm>
              <a:custGeom>
                <a:avLst/>
                <a:gdLst>
                  <a:gd name="connsiteX0" fmla="*/ 0 w 1156073"/>
                  <a:gd name="connsiteY0" fmla="*/ 578037 h 1156073"/>
                  <a:gd name="connsiteX1" fmla="*/ 578037 w 1156073"/>
                  <a:gd name="connsiteY1" fmla="*/ 0 h 1156073"/>
                  <a:gd name="connsiteX2" fmla="*/ 1156074 w 1156073"/>
                  <a:gd name="connsiteY2" fmla="*/ 578037 h 1156073"/>
                  <a:gd name="connsiteX3" fmla="*/ 578037 w 1156073"/>
                  <a:gd name="connsiteY3" fmla="*/ 1156074 h 1156073"/>
                  <a:gd name="connsiteX4" fmla="*/ 0 w 1156073"/>
                  <a:gd name="connsiteY4" fmla="*/ 578037 h 11560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56073" h="1156073">
                    <a:moveTo>
                      <a:pt x="0" y="578037"/>
                    </a:moveTo>
                    <a:cubicBezTo>
                      <a:pt x="0" y="258796"/>
                      <a:pt x="258796" y="0"/>
                      <a:pt x="578037" y="0"/>
                    </a:cubicBezTo>
                    <a:cubicBezTo>
                      <a:pt x="897278" y="0"/>
                      <a:pt x="1156074" y="258796"/>
                      <a:pt x="1156074" y="578037"/>
                    </a:cubicBezTo>
                    <a:cubicBezTo>
                      <a:pt x="1156074" y="897278"/>
                      <a:pt x="897278" y="1156074"/>
                      <a:pt x="578037" y="1156074"/>
                    </a:cubicBezTo>
                    <a:cubicBezTo>
                      <a:pt x="258796" y="1156074"/>
                      <a:pt x="0" y="897278"/>
                      <a:pt x="0" y="578037"/>
                    </a:cubicBez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83273" tIns="183273" rIns="183273" bIns="183273" numCol="1" spcCol="1270" anchor="ctr" anchorCtr="0">
                <a:noAutofit/>
              </a:bodyPr>
              <a:lstStyle/>
              <a:p>
                <a:pPr lvl="0" algn="ctr" defTabSz="466725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kern="1200" dirty="0" smtClean="0"/>
                  <a:t>Symbiotic</a:t>
                </a:r>
                <a:endParaRPr lang="en-US" sz="1050" kern="1200" dirty="0"/>
              </a:p>
            </p:txBody>
          </p:sp>
          <p:sp>
            <p:nvSpPr>
              <p:cNvPr id="20" name="Freeform 19"/>
              <p:cNvSpPr/>
              <p:nvPr/>
            </p:nvSpPr>
            <p:spPr>
              <a:xfrm>
                <a:off x="4031131" y="5311997"/>
                <a:ext cx="1156073" cy="1156073"/>
              </a:xfrm>
              <a:custGeom>
                <a:avLst/>
                <a:gdLst>
                  <a:gd name="connsiteX0" fmla="*/ 0 w 1156073"/>
                  <a:gd name="connsiteY0" fmla="*/ 578037 h 1156073"/>
                  <a:gd name="connsiteX1" fmla="*/ 578037 w 1156073"/>
                  <a:gd name="connsiteY1" fmla="*/ 0 h 1156073"/>
                  <a:gd name="connsiteX2" fmla="*/ 1156074 w 1156073"/>
                  <a:gd name="connsiteY2" fmla="*/ 578037 h 1156073"/>
                  <a:gd name="connsiteX3" fmla="*/ 578037 w 1156073"/>
                  <a:gd name="connsiteY3" fmla="*/ 1156074 h 1156073"/>
                  <a:gd name="connsiteX4" fmla="*/ 0 w 1156073"/>
                  <a:gd name="connsiteY4" fmla="*/ 578037 h 11560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56073" h="1156073">
                    <a:moveTo>
                      <a:pt x="0" y="578037"/>
                    </a:moveTo>
                    <a:cubicBezTo>
                      <a:pt x="0" y="258796"/>
                      <a:pt x="258796" y="0"/>
                      <a:pt x="578037" y="0"/>
                    </a:cubicBezTo>
                    <a:cubicBezTo>
                      <a:pt x="897278" y="0"/>
                      <a:pt x="1156074" y="258796"/>
                      <a:pt x="1156074" y="578037"/>
                    </a:cubicBezTo>
                    <a:cubicBezTo>
                      <a:pt x="1156074" y="897278"/>
                      <a:pt x="897278" y="1156074"/>
                      <a:pt x="578037" y="1156074"/>
                    </a:cubicBezTo>
                    <a:cubicBezTo>
                      <a:pt x="258796" y="1156074"/>
                      <a:pt x="0" y="897278"/>
                      <a:pt x="0" y="578037"/>
                    </a:cubicBez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83273" tIns="183273" rIns="183273" bIns="183273" numCol="1" spcCol="1270" anchor="ctr" anchorCtr="0">
                <a:noAutofit/>
              </a:bodyPr>
              <a:lstStyle/>
              <a:p>
                <a:pPr lvl="0" algn="ctr" defTabSz="466725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kern="1200" dirty="0" smtClean="0"/>
                  <a:t>Contextual</a:t>
                </a:r>
                <a:endParaRPr lang="en-US" sz="1400" kern="1200" dirty="0"/>
              </a:p>
            </p:txBody>
          </p:sp>
          <p:sp>
            <p:nvSpPr>
              <p:cNvPr id="21" name="Freeform 20"/>
              <p:cNvSpPr/>
              <p:nvPr/>
            </p:nvSpPr>
            <p:spPr>
              <a:xfrm>
                <a:off x="2279439" y="3560305"/>
                <a:ext cx="1156073" cy="1156073"/>
              </a:xfrm>
              <a:custGeom>
                <a:avLst/>
                <a:gdLst>
                  <a:gd name="connsiteX0" fmla="*/ 0 w 1156073"/>
                  <a:gd name="connsiteY0" fmla="*/ 578037 h 1156073"/>
                  <a:gd name="connsiteX1" fmla="*/ 578037 w 1156073"/>
                  <a:gd name="connsiteY1" fmla="*/ 0 h 1156073"/>
                  <a:gd name="connsiteX2" fmla="*/ 1156074 w 1156073"/>
                  <a:gd name="connsiteY2" fmla="*/ 578037 h 1156073"/>
                  <a:gd name="connsiteX3" fmla="*/ 578037 w 1156073"/>
                  <a:gd name="connsiteY3" fmla="*/ 1156074 h 1156073"/>
                  <a:gd name="connsiteX4" fmla="*/ 0 w 1156073"/>
                  <a:gd name="connsiteY4" fmla="*/ 578037 h 11560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56073" h="1156073">
                    <a:moveTo>
                      <a:pt x="0" y="578037"/>
                    </a:moveTo>
                    <a:cubicBezTo>
                      <a:pt x="0" y="258796"/>
                      <a:pt x="258796" y="0"/>
                      <a:pt x="578037" y="0"/>
                    </a:cubicBezTo>
                    <a:cubicBezTo>
                      <a:pt x="897278" y="0"/>
                      <a:pt x="1156074" y="258796"/>
                      <a:pt x="1156074" y="578037"/>
                    </a:cubicBezTo>
                    <a:cubicBezTo>
                      <a:pt x="1156074" y="897278"/>
                      <a:pt x="897278" y="1156074"/>
                      <a:pt x="578037" y="1156074"/>
                    </a:cubicBezTo>
                    <a:cubicBezTo>
                      <a:pt x="258796" y="1156074"/>
                      <a:pt x="0" y="897278"/>
                      <a:pt x="0" y="578037"/>
                    </a:cubicBezTo>
                    <a:close/>
                  </a:path>
                </a:pathLst>
              </a:cu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83273" tIns="183273" rIns="183273" bIns="183273" numCol="1" spcCol="1270" anchor="ctr" anchorCtr="0">
                <a:noAutofit/>
              </a:bodyPr>
              <a:lstStyle/>
              <a:p>
                <a:pPr lvl="0" algn="ctr" defTabSz="466725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kern="1200" dirty="0" smtClean="0"/>
                  <a:t>Cognitive</a:t>
                </a:r>
                <a:endParaRPr lang="en-US" sz="1400" kern="1200" dirty="0"/>
              </a:p>
            </p:txBody>
          </p:sp>
        </p:grpSp>
      </p:grpSp>
      <p:sp>
        <p:nvSpPr>
          <p:cNvPr id="22" name="Rectangle 2"/>
          <p:cNvSpPr txBox="1">
            <a:spLocks noChangeArrowheads="1"/>
          </p:cNvSpPr>
          <p:nvPr/>
        </p:nvSpPr>
        <p:spPr>
          <a:xfrm>
            <a:off x="5256795" y="525968"/>
            <a:ext cx="7466981" cy="796995"/>
          </a:xfrm>
          <a:prstGeom prst="rect">
            <a:avLst/>
          </a:prstGeom>
        </p:spPr>
        <p:txBody>
          <a:bodyPr/>
          <a:lstStyle>
            <a:lvl1pPr algn="l" defTabSz="1300163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83D1F5"/>
                </a:solidFill>
                <a:latin typeface="+mj-lt"/>
                <a:ea typeface="ＭＳ Ｐゴシック" pitchFamily="34" charset="-128"/>
                <a:cs typeface="MS PGothic" charset="0"/>
              </a:defRPr>
            </a:lvl1pPr>
            <a:lvl2pPr algn="l" defTabSz="1300163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83D1F5"/>
                </a:solidFill>
                <a:latin typeface="Arial" pitchFamily="34" charset="0"/>
                <a:ea typeface="ＭＳ Ｐゴシック" pitchFamily="34" charset="-128"/>
                <a:cs typeface="MS PGothic" charset="0"/>
              </a:defRPr>
            </a:lvl2pPr>
            <a:lvl3pPr algn="l" defTabSz="1300163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83D1F5"/>
                </a:solidFill>
                <a:latin typeface="Arial" pitchFamily="34" charset="0"/>
                <a:ea typeface="ＭＳ Ｐゴシック" pitchFamily="34" charset="-128"/>
                <a:cs typeface="MS PGothic" charset="0"/>
              </a:defRPr>
            </a:lvl3pPr>
            <a:lvl4pPr algn="l" defTabSz="1300163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83D1F5"/>
                </a:solidFill>
                <a:latin typeface="Arial" pitchFamily="34" charset="0"/>
                <a:ea typeface="ＭＳ Ｐゴシック" pitchFamily="34" charset="-128"/>
                <a:cs typeface="MS PGothic" charset="0"/>
              </a:defRPr>
            </a:lvl4pPr>
            <a:lvl5pPr algn="l" defTabSz="1300163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83D1F5"/>
                </a:solidFill>
                <a:latin typeface="Arial" pitchFamily="34" charset="0"/>
                <a:ea typeface="ＭＳ Ｐゴシック" pitchFamily="34" charset="-128"/>
                <a:cs typeface="MS PGothic" charset="0"/>
              </a:defRPr>
            </a:lvl5pPr>
            <a:lvl6pPr marL="456949" algn="l" defTabSz="1304211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83D1F5"/>
                </a:solidFill>
                <a:latin typeface="Arial" pitchFamily="34" charset="0"/>
                <a:ea typeface="ＭＳ Ｐゴシック" pitchFamily="34" charset="-128"/>
              </a:defRPr>
            </a:lvl6pPr>
            <a:lvl7pPr marL="913897" algn="l" defTabSz="1304211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83D1F5"/>
                </a:solidFill>
                <a:latin typeface="Arial" pitchFamily="34" charset="0"/>
                <a:ea typeface="ＭＳ Ｐゴシック" pitchFamily="34" charset="-128"/>
              </a:defRPr>
            </a:lvl7pPr>
            <a:lvl8pPr marL="1370846" algn="l" defTabSz="1304211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83D1F5"/>
                </a:solidFill>
                <a:latin typeface="Arial" pitchFamily="34" charset="0"/>
                <a:ea typeface="ＭＳ Ｐゴシック" pitchFamily="34" charset="-128"/>
              </a:defRPr>
            </a:lvl8pPr>
            <a:lvl9pPr marL="1827794" algn="l" defTabSz="1304211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83D1F5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en-US" kern="0" dirty="0" smtClean="0">
                <a:ea typeface="MS PGothic" charset="0"/>
                <a:cs typeface="Calibri" charset="0"/>
              </a:rPr>
              <a:t>economy will be </a:t>
            </a:r>
            <a:r>
              <a:rPr lang="en-US" kern="0" dirty="0" smtClean="0">
                <a:solidFill>
                  <a:schemeClr val="tx1"/>
                </a:solidFill>
                <a:ea typeface="MS PGothic" charset="0"/>
                <a:cs typeface="Calibri" charset="0"/>
              </a:rPr>
              <a:t>orchestrated,</a:t>
            </a:r>
            <a:r>
              <a:rPr lang="en-US" kern="0" dirty="0" smtClean="0">
                <a:ea typeface="MS PGothic" charset="0"/>
                <a:cs typeface="Calibri" charset="0"/>
              </a:rPr>
              <a:t> </a:t>
            </a:r>
            <a:endParaRPr lang="en-US" kern="0" dirty="0">
              <a:ea typeface="MS PGothic" charset="0"/>
              <a:cs typeface="Calibri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50000"/>
          <a:stretch>
            <a:fillRect/>
          </a:stretch>
        </p:blipFill>
        <p:spPr bwMode="auto">
          <a:xfrm>
            <a:off x="1625038" y="-68263"/>
            <a:ext cx="4149725" cy="1943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Rectangle 2"/>
          <p:cNvSpPr txBox="1">
            <a:spLocks noChangeArrowheads="1"/>
          </p:cNvSpPr>
          <p:nvPr/>
        </p:nvSpPr>
        <p:spPr>
          <a:xfrm>
            <a:off x="5947045" y="1165702"/>
            <a:ext cx="8566626" cy="806234"/>
          </a:xfrm>
          <a:prstGeom prst="rect">
            <a:avLst/>
          </a:prstGeom>
        </p:spPr>
        <p:txBody>
          <a:bodyPr/>
          <a:lstStyle>
            <a:lvl1pPr algn="l" defTabSz="1300163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83D1F5"/>
                </a:solidFill>
                <a:latin typeface="+mj-lt"/>
                <a:ea typeface="ＭＳ Ｐゴシック" pitchFamily="34" charset="-128"/>
                <a:cs typeface="MS PGothic" charset="0"/>
              </a:defRPr>
            </a:lvl1pPr>
            <a:lvl2pPr algn="l" defTabSz="1300163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83D1F5"/>
                </a:solidFill>
                <a:latin typeface="Arial" pitchFamily="34" charset="0"/>
                <a:ea typeface="ＭＳ Ｐゴシック" pitchFamily="34" charset="-128"/>
                <a:cs typeface="MS PGothic" charset="0"/>
              </a:defRPr>
            </a:lvl2pPr>
            <a:lvl3pPr algn="l" defTabSz="1300163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83D1F5"/>
                </a:solidFill>
                <a:latin typeface="Arial" pitchFamily="34" charset="0"/>
                <a:ea typeface="ＭＳ Ｐゴシック" pitchFamily="34" charset="-128"/>
                <a:cs typeface="MS PGothic" charset="0"/>
              </a:defRPr>
            </a:lvl3pPr>
            <a:lvl4pPr algn="l" defTabSz="1300163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83D1F5"/>
                </a:solidFill>
                <a:latin typeface="Arial" pitchFamily="34" charset="0"/>
                <a:ea typeface="ＭＳ Ｐゴシック" pitchFamily="34" charset="-128"/>
                <a:cs typeface="MS PGothic" charset="0"/>
              </a:defRPr>
            </a:lvl4pPr>
            <a:lvl5pPr algn="l" defTabSz="1300163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83D1F5"/>
                </a:solidFill>
                <a:latin typeface="Arial" pitchFamily="34" charset="0"/>
                <a:ea typeface="ＭＳ Ｐゴシック" pitchFamily="34" charset="-128"/>
                <a:cs typeface="MS PGothic" charset="0"/>
              </a:defRPr>
            </a:lvl5pPr>
            <a:lvl6pPr marL="456949" algn="l" defTabSz="1304211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83D1F5"/>
                </a:solidFill>
                <a:latin typeface="Arial" pitchFamily="34" charset="0"/>
                <a:ea typeface="ＭＳ Ｐゴシック" pitchFamily="34" charset="-128"/>
              </a:defRPr>
            </a:lvl6pPr>
            <a:lvl7pPr marL="913897" algn="l" defTabSz="1304211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83D1F5"/>
                </a:solidFill>
                <a:latin typeface="Arial" pitchFamily="34" charset="0"/>
                <a:ea typeface="ＭＳ Ｐゴシック" pitchFamily="34" charset="-128"/>
              </a:defRPr>
            </a:lvl7pPr>
            <a:lvl8pPr marL="1370846" algn="l" defTabSz="1304211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83D1F5"/>
                </a:solidFill>
                <a:latin typeface="Arial" pitchFamily="34" charset="0"/>
                <a:ea typeface="ＭＳ Ｐゴシック" pitchFamily="34" charset="-128"/>
              </a:defRPr>
            </a:lvl8pPr>
            <a:lvl9pPr marL="1827794" algn="l" defTabSz="1304211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83D1F5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en-US" kern="0" dirty="0" smtClean="0">
                <a:solidFill>
                  <a:schemeClr val="tx1"/>
                </a:solidFill>
                <a:ea typeface="MS PGothic" charset="0"/>
                <a:cs typeface="Calibri" charset="0"/>
              </a:rPr>
              <a:t>symbiotic, contextual and cognitive</a:t>
            </a:r>
            <a:endParaRPr lang="en-US" kern="0" dirty="0">
              <a:solidFill>
                <a:schemeClr val="tx1"/>
              </a:solidFill>
              <a:ea typeface="MS PGothic" charset="0"/>
              <a:cs typeface="Calibri" charset="0"/>
            </a:endParaRPr>
          </a:p>
        </p:txBody>
      </p:sp>
      <p:sp>
        <p:nvSpPr>
          <p:cNvPr id="25" name="Rectangle 2"/>
          <p:cNvSpPr txBox="1">
            <a:spLocks noChangeArrowheads="1"/>
          </p:cNvSpPr>
          <p:nvPr/>
        </p:nvSpPr>
        <p:spPr>
          <a:xfrm>
            <a:off x="685800" y="533400"/>
            <a:ext cx="1298011" cy="796995"/>
          </a:xfrm>
          <a:prstGeom prst="rect">
            <a:avLst/>
          </a:prstGeom>
        </p:spPr>
        <p:txBody>
          <a:bodyPr/>
          <a:lstStyle>
            <a:lvl1pPr algn="l" defTabSz="1300163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83D1F5"/>
                </a:solidFill>
                <a:latin typeface="+mj-lt"/>
                <a:ea typeface="ＭＳ Ｐゴシック" pitchFamily="34" charset="-128"/>
                <a:cs typeface="MS PGothic" charset="0"/>
              </a:defRPr>
            </a:lvl1pPr>
            <a:lvl2pPr algn="l" defTabSz="1300163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83D1F5"/>
                </a:solidFill>
                <a:latin typeface="Arial" pitchFamily="34" charset="0"/>
                <a:ea typeface="ＭＳ Ｐゴシック" pitchFamily="34" charset="-128"/>
                <a:cs typeface="MS PGothic" charset="0"/>
              </a:defRPr>
            </a:lvl2pPr>
            <a:lvl3pPr algn="l" defTabSz="1300163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83D1F5"/>
                </a:solidFill>
                <a:latin typeface="Arial" pitchFamily="34" charset="0"/>
                <a:ea typeface="ＭＳ Ｐゴシック" pitchFamily="34" charset="-128"/>
                <a:cs typeface="MS PGothic" charset="0"/>
              </a:defRPr>
            </a:lvl3pPr>
            <a:lvl4pPr algn="l" defTabSz="1300163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83D1F5"/>
                </a:solidFill>
                <a:latin typeface="Arial" pitchFamily="34" charset="0"/>
                <a:ea typeface="ＭＳ Ｐゴシック" pitchFamily="34" charset="-128"/>
                <a:cs typeface="MS PGothic" charset="0"/>
              </a:defRPr>
            </a:lvl4pPr>
            <a:lvl5pPr algn="l" defTabSz="1300163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83D1F5"/>
                </a:solidFill>
                <a:latin typeface="Arial" pitchFamily="34" charset="0"/>
                <a:ea typeface="ＭＳ Ｐゴシック" pitchFamily="34" charset="-128"/>
                <a:cs typeface="MS PGothic" charset="0"/>
              </a:defRPr>
            </a:lvl5pPr>
            <a:lvl6pPr marL="456949" algn="l" defTabSz="1304211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83D1F5"/>
                </a:solidFill>
                <a:latin typeface="Arial" pitchFamily="34" charset="0"/>
                <a:ea typeface="ＭＳ Ｐゴシック" pitchFamily="34" charset="-128"/>
              </a:defRPr>
            </a:lvl6pPr>
            <a:lvl7pPr marL="913897" algn="l" defTabSz="1304211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83D1F5"/>
                </a:solidFill>
                <a:latin typeface="Arial" pitchFamily="34" charset="0"/>
                <a:ea typeface="ＭＳ Ｐゴシック" pitchFamily="34" charset="-128"/>
              </a:defRPr>
            </a:lvl7pPr>
            <a:lvl8pPr marL="1370846" algn="l" defTabSz="1304211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83D1F5"/>
                </a:solidFill>
                <a:latin typeface="Arial" pitchFamily="34" charset="0"/>
                <a:ea typeface="ＭＳ Ｐゴシック" pitchFamily="34" charset="-128"/>
              </a:defRPr>
            </a:lvl8pPr>
            <a:lvl9pPr marL="1827794" algn="l" defTabSz="1304211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83D1F5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en-US" kern="0" dirty="0" smtClean="0">
                <a:ea typeface="MS PGothic" charset="0"/>
                <a:cs typeface="Calibri" charset="0"/>
              </a:rPr>
              <a:t>The</a:t>
            </a:r>
            <a:endParaRPr lang="en-US" kern="0" dirty="0">
              <a:ea typeface="MS PGothic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536287562"/>
      </p:ext>
    </p:extLst>
  </p:cSld>
  <p:clrMapOvr>
    <a:masterClrMapping/>
  </p:clrMapOvr>
  <p:transition spd="slow">
    <p:check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50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500"/>
                            </p:stCondLst>
                            <p:childTnLst>
                              <p:par>
                                <p:cTn id="23" presetID="6" presetClass="entr" presetSubtype="3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25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  <p:bldP spid="24" grpId="0"/>
      <p:bldP spid="25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Screen Shot 2015-05-10 at 9.15.06 P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6858000" cy="8229600"/>
          </a:xfrm>
          <a:prstGeom prst="rect">
            <a:avLst/>
          </a:prstGeom>
        </p:spPr>
      </p:pic>
      <p:pic>
        <p:nvPicPr>
          <p:cNvPr id="3" name="Picture 2" descr="Screen Shot 2015-05-10 at 9.17.25 PM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755467" y="0"/>
            <a:ext cx="6841033" cy="8229600"/>
          </a:xfrm>
          <a:prstGeom prst="rect">
            <a:avLst/>
          </a:prstGeom>
        </p:spPr>
      </p:pic>
      <p:sp>
        <p:nvSpPr>
          <p:cNvPr id="8" name="Multiplicar 9"/>
          <p:cNvSpPr>
            <a:spLocks/>
          </p:cNvSpPr>
          <p:nvPr/>
        </p:nvSpPr>
        <p:spPr bwMode="auto">
          <a:xfrm>
            <a:off x="6404133" y="3684201"/>
            <a:ext cx="1755139" cy="1880398"/>
          </a:xfrm>
          <a:custGeom>
            <a:avLst/>
            <a:gdLst>
              <a:gd name="T0" fmla="*/ 263463 w 1096962"/>
              <a:gd name="T1" fmla="*/ 282146 h 1174750"/>
              <a:gd name="T2" fmla="*/ 833499 w 1096962"/>
              <a:gd name="T3" fmla="*/ 282146 h 1174750"/>
              <a:gd name="T4" fmla="*/ 833499 w 1096962"/>
              <a:gd name="T5" fmla="*/ 892604 h 1174750"/>
              <a:gd name="T6" fmla="*/ 263463 w 1096962"/>
              <a:gd name="T7" fmla="*/ 892604 h 1174750"/>
              <a:gd name="T8" fmla="*/ 11796480 60000 65536"/>
              <a:gd name="T9" fmla="*/ 17694720 60000 65536"/>
              <a:gd name="T10" fmla="*/ 0 60000 65536"/>
              <a:gd name="T11" fmla="*/ 5898240 60000 65536"/>
              <a:gd name="T12" fmla="*/ 169176 w 1096962"/>
              <a:gd name="T13" fmla="*/ 194102 h 1174750"/>
              <a:gd name="T14" fmla="*/ 927786 w 1096962"/>
              <a:gd name="T15" fmla="*/ 980648 h 117475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096962" h="1174750">
                <a:moveTo>
                  <a:pt x="169176" y="370189"/>
                </a:moveTo>
                <a:lnTo>
                  <a:pt x="357750" y="194102"/>
                </a:lnTo>
                <a:lnTo>
                  <a:pt x="548481" y="398358"/>
                </a:lnTo>
                <a:lnTo>
                  <a:pt x="739212" y="194102"/>
                </a:lnTo>
                <a:lnTo>
                  <a:pt x="927786" y="370189"/>
                </a:lnTo>
                <a:lnTo>
                  <a:pt x="724982" y="587375"/>
                </a:lnTo>
                <a:lnTo>
                  <a:pt x="927786" y="804561"/>
                </a:lnTo>
                <a:lnTo>
                  <a:pt x="739212" y="980648"/>
                </a:lnTo>
                <a:lnTo>
                  <a:pt x="548481" y="776392"/>
                </a:lnTo>
                <a:lnTo>
                  <a:pt x="357750" y="980648"/>
                </a:lnTo>
                <a:lnTo>
                  <a:pt x="169176" y="804561"/>
                </a:lnTo>
                <a:lnTo>
                  <a:pt x="371980" y="587375"/>
                </a:lnTo>
                <a:close/>
              </a:path>
            </a:pathLst>
          </a:custGeom>
          <a:solidFill>
            <a:srgbClr val="FF6600"/>
          </a:solidFill>
          <a:ln w="38100" cmpd="sng">
            <a:solidFill>
              <a:schemeClr val="tx1"/>
            </a:solidFill>
            <a:round/>
            <a:headEnd/>
            <a:tailEnd/>
          </a:ln>
        </p:spPr>
        <p:txBody>
          <a:bodyPr lIns="130622" tIns="65311" rIns="130622" bIns="65311"/>
          <a:lstStyle/>
          <a:p>
            <a:endParaRPr lang="en-US"/>
          </a:p>
        </p:txBody>
      </p:sp>
      <p:grpSp>
        <p:nvGrpSpPr>
          <p:cNvPr id="4" name="Group 3"/>
          <p:cNvGrpSpPr/>
          <p:nvPr/>
        </p:nvGrpSpPr>
        <p:grpSpPr>
          <a:xfrm>
            <a:off x="-34028" y="2499503"/>
            <a:ext cx="12597396" cy="2357438"/>
            <a:chOff x="-34028" y="2499503"/>
            <a:chExt cx="12597396" cy="2357438"/>
          </a:xfrm>
        </p:grpSpPr>
        <p:sp>
          <p:nvSpPr>
            <p:cNvPr id="13" name="Right Arrow 4"/>
            <p:cNvSpPr/>
            <p:nvPr/>
          </p:nvSpPr>
          <p:spPr bwMode="auto">
            <a:xfrm>
              <a:off x="-34028" y="2499503"/>
              <a:ext cx="12597396" cy="2357438"/>
            </a:xfrm>
            <a:custGeom>
              <a:avLst/>
              <a:gdLst>
                <a:gd name="connsiteX0" fmla="*/ 0 w 9424988"/>
                <a:gd name="connsiteY0" fmla="*/ 749288 h 2357438"/>
                <a:gd name="connsiteX1" fmla="*/ 7302752 w 9424988"/>
                <a:gd name="connsiteY1" fmla="*/ 749288 h 2357438"/>
                <a:gd name="connsiteX2" fmla="*/ 7302752 w 9424988"/>
                <a:gd name="connsiteY2" fmla="*/ 0 h 2357438"/>
                <a:gd name="connsiteX3" fmla="*/ 9424988 w 9424988"/>
                <a:gd name="connsiteY3" fmla="*/ 1178719 h 2357438"/>
                <a:gd name="connsiteX4" fmla="*/ 7302752 w 9424988"/>
                <a:gd name="connsiteY4" fmla="*/ 2357438 h 2357438"/>
                <a:gd name="connsiteX5" fmla="*/ 7302752 w 9424988"/>
                <a:gd name="connsiteY5" fmla="*/ 1608150 h 2357438"/>
                <a:gd name="connsiteX6" fmla="*/ 0 w 9424988"/>
                <a:gd name="connsiteY6" fmla="*/ 1608150 h 2357438"/>
                <a:gd name="connsiteX7" fmla="*/ 0 w 9424988"/>
                <a:gd name="connsiteY7" fmla="*/ 749288 h 2357438"/>
                <a:gd name="connsiteX0" fmla="*/ 3172408 w 12597396"/>
                <a:gd name="connsiteY0" fmla="*/ 749288 h 2357438"/>
                <a:gd name="connsiteX1" fmla="*/ 10475160 w 12597396"/>
                <a:gd name="connsiteY1" fmla="*/ 749288 h 2357438"/>
                <a:gd name="connsiteX2" fmla="*/ 10475160 w 12597396"/>
                <a:gd name="connsiteY2" fmla="*/ 0 h 2357438"/>
                <a:gd name="connsiteX3" fmla="*/ 12597396 w 12597396"/>
                <a:gd name="connsiteY3" fmla="*/ 1178719 h 2357438"/>
                <a:gd name="connsiteX4" fmla="*/ 10475160 w 12597396"/>
                <a:gd name="connsiteY4" fmla="*/ 2357438 h 2357438"/>
                <a:gd name="connsiteX5" fmla="*/ 10475160 w 12597396"/>
                <a:gd name="connsiteY5" fmla="*/ 1608150 h 2357438"/>
                <a:gd name="connsiteX6" fmla="*/ 0 w 12597396"/>
                <a:gd name="connsiteY6" fmla="*/ 1608150 h 2357438"/>
                <a:gd name="connsiteX7" fmla="*/ 3172408 w 12597396"/>
                <a:gd name="connsiteY7" fmla="*/ 749288 h 2357438"/>
                <a:gd name="connsiteX0" fmla="*/ 0 w 12597396"/>
                <a:gd name="connsiteY0" fmla="*/ 749288 h 2357438"/>
                <a:gd name="connsiteX1" fmla="*/ 10475160 w 12597396"/>
                <a:gd name="connsiteY1" fmla="*/ 749288 h 2357438"/>
                <a:gd name="connsiteX2" fmla="*/ 10475160 w 12597396"/>
                <a:gd name="connsiteY2" fmla="*/ 0 h 2357438"/>
                <a:gd name="connsiteX3" fmla="*/ 12597396 w 12597396"/>
                <a:gd name="connsiteY3" fmla="*/ 1178719 h 2357438"/>
                <a:gd name="connsiteX4" fmla="*/ 10475160 w 12597396"/>
                <a:gd name="connsiteY4" fmla="*/ 2357438 h 2357438"/>
                <a:gd name="connsiteX5" fmla="*/ 10475160 w 12597396"/>
                <a:gd name="connsiteY5" fmla="*/ 1608150 h 2357438"/>
                <a:gd name="connsiteX6" fmla="*/ 0 w 12597396"/>
                <a:gd name="connsiteY6" fmla="*/ 1608150 h 2357438"/>
                <a:gd name="connsiteX7" fmla="*/ 0 w 12597396"/>
                <a:gd name="connsiteY7" fmla="*/ 749288 h 2357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97396" h="2357438">
                  <a:moveTo>
                    <a:pt x="0" y="749288"/>
                  </a:moveTo>
                  <a:lnTo>
                    <a:pt x="10475160" y="749288"/>
                  </a:lnTo>
                  <a:lnTo>
                    <a:pt x="10475160" y="0"/>
                  </a:lnTo>
                  <a:lnTo>
                    <a:pt x="12597396" y="1178719"/>
                  </a:lnTo>
                  <a:lnTo>
                    <a:pt x="10475160" y="2357438"/>
                  </a:lnTo>
                  <a:lnTo>
                    <a:pt x="10475160" y="1608150"/>
                  </a:lnTo>
                  <a:lnTo>
                    <a:pt x="0" y="1608150"/>
                  </a:lnTo>
                  <a:lnTo>
                    <a:pt x="0" y="74928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5">
                    <a:lumMod val="50000"/>
                    <a:alpha val="80000"/>
                  </a:schemeClr>
                </a:gs>
                <a:gs pos="53000">
                  <a:schemeClr val="bg2">
                    <a:lumMod val="40000"/>
                    <a:lumOff val="60000"/>
                    <a:shade val="67500"/>
                    <a:satMod val="115000"/>
                  </a:schemeClr>
                </a:gs>
                <a:gs pos="100000">
                  <a:schemeClr val="tx2">
                    <a:lumMod val="50000"/>
                    <a:alpha val="86000"/>
                  </a:schemeClr>
                </a:gs>
              </a:gsLst>
              <a:lin ang="10800000" scaled="1"/>
              <a:tileRect/>
            </a:gradFill>
            <a:ln>
              <a:noFill/>
            </a:ln>
            <a:effectLst/>
            <a:extLst/>
          </p:spPr>
          <p:txBody>
            <a:bodyPr wrap="none" lIns="91393" tIns="45693" rIns="91393" bIns="45693" anchor="ctr"/>
            <a:lstStyle/>
            <a:p>
              <a:pPr marL="166597" indent="-166597" algn="ctr" eaLnBrk="1" hangingPunct="1">
                <a:lnSpc>
                  <a:spcPct val="90000"/>
                </a:lnSpc>
                <a:spcBef>
                  <a:spcPct val="50000"/>
                </a:spcBef>
                <a:defRPr/>
              </a:pPr>
              <a:endParaRPr lang="en-US" sz="1600" b="1" dirty="0">
                <a:solidFill>
                  <a:srgbClr val="003F69"/>
                </a:solidFill>
                <a:latin typeface="Arial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080624" y="3140926"/>
              <a:ext cx="11094615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5400" b="1" dirty="0"/>
                <a:t>Connectivity</a:t>
              </a:r>
              <a:r>
                <a:rPr lang="en-US" sz="5400" b="1" dirty="0">
                  <a:solidFill>
                    <a:srgbClr val="FFC000"/>
                  </a:solidFill>
                </a:rPr>
                <a:t>        </a:t>
              </a:r>
              <a:r>
                <a:rPr lang="en-US" sz="5400" b="1" dirty="0"/>
                <a:t>Orchestrated</a:t>
              </a:r>
            </a:p>
          </p:txBody>
        </p:sp>
        <p:cxnSp>
          <p:nvCxnSpPr>
            <p:cNvPr id="15" name="Straight Arrow Connector 14"/>
            <p:cNvCxnSpPr/>
            <p:nvPr/>
          </p:nvCxnSpPr>
          <p:spPr>
            <a:xfrm flipV="1">
              <a:off x="5444372" y="3661581"/>
              <a:ext cx="1154998" cy="16641"/>
            </a:xfrm>
            <a:prstGeom prst="straightConnector1">
              <a:avLst/>
            </a:prstGeom>
            <a:ln w="127000">
              <a:solidFill>
                <a:srgbClr val="FFC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xmlns="" val="248015659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9" presetClass="entr" presetSubtype="0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creen Shot 2015-05-10 at 9.20.51 P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-188034"/>
            <a:ext cx="14630400" cy="8600434"/>
          </a:xfrm>
          <a:prstGeom prst="rect">
            <a:avLst/>
          </a:prstGeom>
        </p:spPr>
      </p:pic>
      <p:grpSp>
        <p:nvGrpSpPr>
          <p:cNvPr id="9" name="Group 8"/>
          <p:cNvGrpSpPr/>
          <p:nvPr/>
        </p:nvGrpSpPr>
        <p:grpSpPr>
          <a:xfrm>
            <a:off x="-34028" y="2761878"/>
            <a:ext cx="12597396" cy="2357438"/>
            <a:chOff x="-34028" y="2499503"/>
            <a:chExt cx="12597396" cy="2357438"/>
          </a:xfrm>
        </p:grpSpPr>
        <p:sp>
          <p:nvSpPr>
            <p:cNvPr id="10" name="Right Arrow 4"/>
            <p:cNvSpPr/>
            <p:nvPr/>
          </p:nvSpPr>
          <p:spPr bwMode="auto">
            <a:xfrm>
              <a:off x="-34028" y="2499503"/>
              <a:ext cx="12597396" cy="2357438"/>
            </a:xfrm>
            <a:custGeom>
              <a:avLst/>
              <a:gdLst>
                <a:gd name="connsiteX0" fmla="*/ 0 w 9424988"/>
                <a:gd name="connsiteY0" fmla="*/ 749288 h 2357438"/>
                <a:gd name="connsiteX1" fmla="*/ 7302752 w 9424988"/>
                <a:gd name="connsiteY1" fmla="*/ 749288 h 2357438"/>
                <a:gd name="connsiteX2" fmla="*/ 7302752 w 9424988"/>
                <a:gd name="connsiteY2" fmla="*/ 0 h 2357438"/>
                <a:gd name="connsiteX3" fmla="*/ 9424988 w 9424988"/>
                <a:gd name="connsiteY3" fmla="*/ 1178719 h 2357438"/>
                <a:gd name="connsiteX4" fmla="*/ 7302752 w 9424988"/>
                <a:gd name="connsiteY4" fmla="*/ 2357438 h 2357438"/>
                <a:gd name="connsiteX5" fmla="*/ 7302752 w 9424988"/>
                <a:gd name="connsiteY5" fmla="*/ 1608150 h 2357438"/>
                <a:gd name="connsiteX6" fmla="*/ 0 w 9424988"/>
                <a:gd name="connsiteY6" fmla="*/ 1608150 h 2357438"/>
                <a:gd name="connsiteX7" fmla="*/ 0 w 9424988"/>
                <a:gd name="connsiteY7" fmla="*/ 749288 h 2357438"/>
                <a:gd name="connsiteX0" fmla="*/ 3172408 w 12597396"/>
                <a:gd name="connsiteY0" fmla="*/ 749288 h 2357438"/>
                <a:gd name="connsiteX1" fmla="*/ 10475160 w 12597396"/>
                <a:gd name="connsiteY1" fmla="*/ 749288 h 2357438"/>
                <a:gd name="connsiteX2" fmla="*/ 10475160 w 12597396"/>
                <a:gd name="connsiteY2" fmla="*/ 0 h 2357438"/>
                <a:gd name="connsiteX3" fmla="*/ 12597396 w 12597396"/>
                <a:gd name="connsiteY3" fmla="*/ 1178719 h 2357438"/>
                <a:gd name="connsiteX4" fmla="*/ 10475160 w 12597396"/>
                <a:gd name="connsiteY4" fmla="*/ 2357438 h 2357438"/>
                <a:gd name="connsiteX5" fmla="*/ 10475160 w 12597396"/>
                <a:gd name="connsiteY5" fmla="*/ 1608150 h 2357438"/>
                <a:gd name="connsiteX6" fmla="*/ 0 w 12597396"/>
                <a:gd name="connsiteY6" fmla="*/ 1608150 h 2357438"/>
                <a:gd name="connsiteX7" fmla="*/ 3172408 w 12597396"/>
                <a:gd name="connsiteY7" fmla="*/ 749288 h 2357438"/>
                <a:gd name="connsiteX0" fmla="*/ 0 w 12597396"/>
                <a:gd name="connsiteY0" fmla="*/ 749288 h 2357438"/>
                <a:gd name="connsiteX1" fmla="*/ 10475160 w 12597396"/>
                <a:gd name="connsiteY1" fmla="*/ 749288 h 2357438"/>
                <a:gd name="connsiteX2" fmla="*/ 10475160 w 12597396"/>
                <a:gd name="connsiteY2" fmla="*/ 0 h 2357438"/>
                <a:gd name="connsiteX3" fmla="*/ 12597396 w 12597396"/>
                <a:gd name="connsiteY3" fmla="*/ 1178719 h 2357438"/>
                <a:gd name="connsiteX4" fmla="*/ 10475160 w 12597396"/>
                <a:gd name="connsiteY4" fmla="*/ 2357438 h 2357438"/>
                <a:gd name="connsiteX5" fmla="*/ 10475160 w 12597396"/>
                <a:gd name="connsiteY5" fmla="*/ 1608150 h 2357438"/>
                <a:gd name="connsiteX6" fmla="*/ 0 w 12597396"/>
                <a:gd name="connsiteY6" fmla="*/ 1608150 h 2357438"/>
                <a:gd name="connsiteX7" fmla="*/ 0 w 12597396"/>
                <a:gd name="connsiteY7" fmla="*/ 749288 h 2357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97396" h="2357438">
                  <a:moveTo>
                    <a:pt x="0" y="749288"/>
                  </a:moveTo>
                  <a:lnTo>
                    <a:pt x="10475160" y="749288"/>
                  </a:lnTo>
                  <a:lnTo>
                    <a:pt x="10475160" y="0"/>
                  </a:lnTo>
                  <a:lnTo>
                    <a:pt x="12597396" y="1178719"/>
                  </a:lnTo>
                  <a:lnTo>
                    <a:pt x="10475160" y="2357438"/>
                  </a:lnTo>
                  <a:lnTo>
                    <a:pt x="10475160" y="1608150"/>
                  </a:lnTo>
                  <a:lnTo>
                    <a:pt x="0" y="1608150"/>
                  </a:lnTo>
                  <a:lnTo>
                    <a:pt x="0" y="74928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5">
                    <a:lumMod val="50000"/>
                    <a:alpha val="80000"/>
                  </a:schemeClr>
                </a:gs>
                <a:gs pos="53000">
                  <a:schemeClr val="bg2">
                    <a:lumMod val="40000"/>
                    <a:lumOff val="60000"/>
                    <a:shade val="67500"/>
                    <a:satMod val="115000"/>
                  </a:schemeClr>
                </a:gs>
                <a:gs pos="100000">
                  <a:schemeClr val="tx2">
                    <a:lumMod val="50000"/>
                    <a:alpha val="86000"/>
                  </a:schemeClr>
                </a:gs>
              </a:gsLst>
              <a:lin ang="10800000" scaled="1"/>
              <a:tileRect/>
            </a:gradFill>
            <a:ln>
              <a:noFill/>
            </a:ln>
            <a:effectLst/>
            <a:extLst/>
          </p:spPr>
          <p:txBody>
            <a:bodyPr wrap="none" lIns="91393" tIns="45693" rIns="91393" bIns="45693" anchor="ctr"/>
            <a:lstStyle/>
            <a:p>
              <a:pPr marL="166597" indent="-166597" algn="ctr" eaLnBrk="1" hangingPunct="1">
                <a:lnSpc>
                  <a:spcPct val="90000"/>
                </a:lnSpc>
                <a:spcBef>
                  <a:spcPct val="50000"/>
                </a:spcBef>
                <a:defRPr/>
              </a:pPr>
              <a:endParaRPr lang="en-US" sz="1600" b="1" dirty="0">
                <a:solidFill>
                  <a:srgbClr val="003F69"/>
                </a:solidFill>
                <a:latin typeface="Arial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1269552" y="3140926"/>
              <a:ext cx="11094615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5400" b="1" dirty="0"/>
                <a:t>Interactivity</a:t>
              </a:r>
              <a:r>
                <a:rPr lang="en-US" sz="5400" b="1" dirty="0">
                  <a:solidFill>
                    <a:srgbClr val="FFC000"/>
                  </a:solidFill>
                </a:rPr>
                <a:t>        </a:t>
              </a:r>
              <a:r>
                <a:rPr lang="en-US" sz="5400" b="1" dirty="0"/>
                <a:t>Symbiotic</a:t>
              </a:r>
            </a:p>
          </p:txBody>
        </p:sp>
        <p:cxnSp>
          <p:nvCxnSpPr>
            <p:cNvPr id="12" name="Straight Arrow Connector 11"/>
            <p:cNvCxnSpPr/>
            <p:nvPr/>
          </p:nvCxnSpPr>
          <p:spPr>
            <a:xfrm flipV="1">
              <a:off x="5444372" y="3661581"/>
              <a:ext cx="1154998" cy="16641"/>
            </a:xfrm>
            <a:prstGeom prst="straightConnector1">
              <a:avLst/>
            </a:prstGeom>
            <a:ln w="127000">
              <a:solidFill>
                <a:srgbClr val="FFC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xmlns="" val="294948942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0" y="-13235"/>
            <a:ext cx="14630401" cy="8286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/>
          <p:cNvGrpSpPr/>
          <p:nvPr/>
        </p:nvGrpSpPr>
        <p:grpSpPr>
          <a:xfrm>
            <a:off x="-1060096" y="2205606"/>
            <a:ext cx="12639603" cy="2357438"/>
            <a:chOff x="-34028" y="2499503"/>
            <a:chExt cx="12639603" cy="2357438"/>
          </a:xfrm>
        </p:grpSpPr>
        <p:sp>
          <p:nvSpPr>
            <p:cNvPr id="11" name="Right Arrow 4"/>
            <p:cNvSpPr/>
            <p:nvPr/>
          </p:nvSpPr>
          <p:spPr bwMode="auto">
            <a:xfrm>
              <a:off x="-34028" y="2499503"/>
              <a:ext cx="12597396" cy="2357438"/>
            </a:xfrm>
            <a:custGeom>
              <a:avLst/>
              <a:gdLst>
                <a:gd name="connsiteX0" fmla="*/ 0 w 9424988"/>
                <a:gd name="connsiteY0" fmla="*/ 749288 h 2357438"/>
                <a:gd name="connsiteX1" fmla="*/ 7302752 w 9424988"/>
                <a:gd name="connsiteY1" fmla="*/ 749288 h 2357438"/>
                <a:gd name="connsiteX2" fmla="*/ 7302752 w 9424988"/>
                <a:gd name="connsiteY2" fmla="*/ 0 h 2357438"/>
                <a:gd name="connsiteX3" fmla="*/ 9424988 w 9424988"/>
                <a:gd name="connsiteY3" fmla="*/ 1178719 h 2357438"/>
                <a:gd name="connsiteX4" fmla="*/ 7302752 w 9424988"/>
                <a:gd name="connsiteY4" fmla="*/ 2357438 h 2357438"/>
                <a:gd name="connsiteX5" fmla="*/ 7302752 w 9424988"/>
                <a:gd name="connsiteY5" fmla="*/ 1608150 h 2357438"/>
                <a:gd name="connsiteX6" fmla="*/ 0 w 9424988"/>
                <a:gd name="connsiteY6" fmla="*/ 1608150 h 2357438"/>
                <a:gd name="connsiteX7" fmla="*/ 0 w 9424988"/>
                <a:gd name="connsiteY7" fmla="*/ 749288 h 2357438"/>
                <a:gd name="connsiteX0" fmla="*/ 3172408 w 12597396"/>
                <a:gd name="connsiteY0" fmla="*/ 749288 h 2357438"/>
                <a:gd name="connsiteX1" fmla="*/ 10475160 w 12597396"/>
                <a:gd name="connsiteY1" fmla="*/ 749288 h 2357438"/>
                <a:gd name="connsiteX2" fmla="*/ 10475160 w 12597396"/>
                <a:gd name="connsiteY2" fmla="*/ 0 h 2357438"/>
                <a:gd name="connsiteX3" fmla="*/ 12597396 w 12597396"/>
                <a:gd name="connsiteY3" fmla="*/ 1178719 h 2357438"/>
                <a:gd name="connsiteX4" fmla="*/ 10475160 w 12597396"/>
                <a:gd name="connsiteY4" fmla="*/ 2357438 h 2357438"/>
                <a:gd name="connsiteX5" fmla="*/ 10475160 w 12597396"/>
                <a:gd name="connsiteY5" fmla="*/ 1608150 h 2357438"/>
                <a:gd name="connsiteX6" fmla="*/ 0 w 12597396"/>
                <a:gd name="connsiteY6" fmla="*/ 1608150 h 2357438"/>
                <a:gd name="connsiteX7" fmla="*/ 3172408 w 12597396"/>
                <a:gd name="connsiteY7" fmla="*/ 749288 h 2357438"/>
                <a:gd name="connsiteX0" fmla="*/ 0 w 12597396"/>
                <a:gd name="connsiteY0" fmla="*/ 749288 h 2357438"/>
                <a:gd name="connsiteX1" fmla="*/ 10475160 w 12597396"/>
                <a:gd name="connsiteY1" fmla="*/ 749288 h 2357438"/>
                <a:gd name="connsiteX2" fmla="*/ 10475160 w 12597396"/>
                <a:gd name="connsiteY2" fmla="*/ 0 h 2357438"/>
                <a:gd name="connsiteX3" fmla="*/ 12597396 w 12597396"/>
                <a:gd name="connsiteY3" fmla="*/ 1178719 h 2357438"/>
                <a:gd name="connsiteX4" fmla="*/ 10475160 w 12597396"/>
                <a:gd name="connsiteY4" fmla="*/ 2357438 h 2357438"/>
                <a:gd name="connsiteX5" fmla="*/ 10475160 w 12597396"/>
                <a:gd name="connsiteY5" fmla="*/ 1608150 h 2357438"/>
                <a:gd name="connsiteX6" fmla="*/ 0 w 12597396"/>
                <a:gd name="connsiteY6" fmla="*/ 1608150 h 2357438"/>
                <a:gd name="connsiteX7" fmla="*/ 0 w 12597396"/>
                <a:gd name="connsiteY7" fmla="*/ 749288 h 2357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97396" h="2357438">
                  <a:moveTo>
                    <a:pt x="0" y="749288"/>
                  </a:moveTo>
                  <a:lnTo>
                    <a:pt x="10475160" y="749288"/>
                  </a:lnTo>
                  <a:lnTo>
                    <a:pt x="10475160" y="0"/>
                  </a:lnTo>
                  <a:lnTo>
                    <a:pt x="12597396" y="1178719"/>
                  </a:lnTo>
                  <a:lnTo>
                    <a:pt x="10475160" y="2357438"/>
                  </a:lnTo>
                  <a:lnTo>
                    <a:pt x="10475160" y="1608150"/>
                  </a:lnTo>
                  <a:lnTo>
                    <a:pt x="0" y="1608150"/>
                  </a:lnTo>
                  <a:lnTo>
                    <a:pt x="0" y="74928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5">
                    <a:lumMod val="50000"/>
                    <a:alpha val="80000"/>
                  </a:schemeClr>
                </a:gs>
                <a:gs pos="53000">
                  <a:schemeClr val="bg2">
                    <a:lumMod val="40000"/>
                    <a:lumOff val="60000"/>
                    <a:shade val="67500"/>
                    <a:satMod val="115000"/>
                  </a:schemeClr>
                </a:gs>
                <a:gs pos="100000">
                  <a:schemeClr val="tx2">
                    <a:lumMod val="50000"/>
                    <a:alpha val="86000"/>
                  </a:schemeClr>
                </a:gs>
              </a:gsLst>
              <a:lin ang="10800000" scaled="1"/>
              <a:tileRect/>
            </a:gradFill>
            <a:ln>
              <a:noFill/>
            </a:ln>
            <a:effectLst/>
            <a:extLst/>
          </p:spPr>
          <p:txBody>
            <a:bodyPr wrap="none" lIns="91393" tIns="45693" rIns="91393" bIns="45693" anchor="ctr"/>
            <a:lstStyle/>
            <a:p>
              <a:pPr marL="166597" indent="-166597" algn="ctr" eaLnBrk="1" hangingPunct="1">
                <a:lnSpc>
                  <a:spcPct val="90000"/>
                </a:lnSpc>
                <a:spcBef>
                  <a:spcPct val="50000"/>
                </a:spcBef>
                <a:defRPr/>
              </a:pPr>
              <a:endParaRPr lang="en-US" sz="1600" b="1" dirty="0">
                <a:solidFill>
                  <a:srgbClr val="003F69"/>
                </a:solidFill>
                <a:latin typeface="Arial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1510960" y="3140926"/>
              <a:ext cx="11094615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5400" b="1" dirty="0"/>
                <a:t>Awareness</a:t>
              </a:r>
              <a:r>
                <a:rPr lang="en-US" sz="5400" b="1" dirty="0">
                  <a:solidFill>
                    <a:srgbClr val="FFC000"/>
                  </a:solidFill>
                </a:rPr>
                <a:t>        </a:t>
              </a:r>
              <a:r>
                <a:rPr lang="en-US" sz="5400" b="1" dirty="0"/>
                <a:t>Contextual</a:t>
              </a:r>
            </a:p>
          </p:txBody>
        </p:sp>
        <p:cxnSp>
          <p:nvCxnSpPr>
            <p:cNvPr id="13" name="Straight Arrow Connector 12"/>
            <p:cNvCxnSpPr/>
            <p:nvPr/>
          </p:nvCxnSpPr>
          <p:spPr>
            <a:xfrm flipV="1">
              <a:off x="5444372" y="3661581"/>
              <a:ext cx="1154998" cy="16641"/>
            </a:xfrm>
            <a:prstGeom prst="straightConnector1">
              <a:avLst/>
            </a:prstGeom>
            <a:ln w="127000">
              <a:solidFill>
                <a:srgbClr val="FFC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xmlns="" val="185177839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Screen Shot 2015-05-10 at 12.19.40 P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1" y="-1"/>
            <a:ext cx="14620161" cy="8229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1285675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/>
          <p:cNvGrpSpPr/>
          <p:nvPr/>
        </p:nvGrpSpPr>
        <p:grpSpPr>
          <a:xfrm>
            <a:off x="736600" y="4565477"/>
            <a:ext cx="4039562" cy="1252026"/>
            <a:chOff x="736600" y="4565477"/>
            <a:chExt cx="4039562" cy="1252026"/>
          </a:xfrm>
        </p:grpSpPr>
        <p:sp>
          <p:nvSpPr>
            <p:cNvPr id="3" name="TextBox 2"/>
            <p:cNvSpPr txBox="1"/>
            <p:nvPr/>
          </p:nvSpPr>
          <p:spPr>
            <a:xfrm>
              <a:off x="736600" y="5325060"/>
              <a:ext cx="4039562" cy="492443"/>
            </a:xfrm>
            <a:prstGeom prst="rect">
              <a:avLst/>
            </a:prstGeom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r>
                <a:rPr lang="en-US" dirty="0" smtClean="0"/>
                <a:t>Sep 26 2015</a:t>
              </a:r>
              <a:endParaRPr lang="en-US" dirty="0"/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736600" y="4565477"/>
              <a:ext cx="2065867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Departure</a:t>
              </a:r>
              <a:endParaRPr lang="en-US" dirty="0"/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736600" y="6252037"/>
            <a:ext cx="4137462" cy="1252026"/>
            <a:chOff x="736600" y="6252037"/>
            <a:chExt cx="4137462" cy="1252026"/>
          </a:xfrm>
        </p:grpSpPr>
        <p:sp>
          <p:nvSpPr>
            <p:cNvPr id="4" name="TextBox 3"/>
            <p:cNvSpPr txBox="1"/>
            <p:nvPr/>
          </p:nvSpPr>
          <p:spPr>
            <a:xfrm>
              <a:off x="736600" y="6994689"/>
              <a:ext cx="4137462" cy="509374"/>
            </a:xfrm>
            <a:prstGeom prst="rect">
              <a:avLst/>
            </a:prstGeom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r>
                <a:rPr lang="en-US" dirty="0" smtClean="0"/>
                <a:t>Oct 12 2015</a:t>
              </a:r>
              <a:endParaRPr lang="en-US" dirty="0"/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736600" y="6252037"/>
              <a:ext cx="2272454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Return</a:t>
              </a:r>
              <a:endParaRPr lang="en-US" dirty="0"/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9649642" y="2469591"/>
            <a:ext cx="4039562" cy="1186713"/>
            <a:chOff x="9649642" y="2469591"/>
            <a:chExt cx="4039562" cy="1186713"/>
          </a:xfrm>
        </p:grpSpPr>
        <p:sp>
          <p:nvSpPr>
            <p:cNvPr id="7" name="TextBox 6"/>
            <p:cNvSpPr txBox="1"/>
            <p:nvPr/>
          </p:nvSpPr>
          <p:spPr>
            <a:xfrm>
              <a:off x="9649642" y="3163861"/>
              <a:ext cx="4039562" cy="492443"/>
            </a:xfrm>
            <a:prstGeom prst="rect">
              <a:avLst/>
            </a:prstGeom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wrap="none" rtlCol="0">
              <a:spAutoFit/>
            </a:bodyPr>
            <a:lstStyle/>
            <a:p>
              <a:r>
                <a:rPr lang="en-US" dirty="0" smtClean="0"/>
                <a:t>GRU – Sao Paulo Intl </a:t>
              </a:r>
              <a:r>
                <a:rPr lang="en-US" dirty="0" err="1" smtClean="0"/>
                <a:t>Airp</a:t>
              </a:r>
              <a:endParaRPr lang="en-US" dirty="0"/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9649642" y="2469591"/>
              <a:ext cx="2065867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From</a:t>
              </a:r>
              <a:endParaRPr lang="en-US" dirty="0"/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9649642" y="3973271"/>
            <a:ext cx="4137462" cy="1169782"/>
            <a:chOff x="9649642" y="3973271"/>
            <a:chExt cx="4137462" cy="1169782"/>
          </a:xfrm>
        </p:grpSpPr>
        <p:sp>
          <p:nvSpPr>
            <p:cNvPr id="8" name="TextBox 7"/>
            <p:cNvSpPr txBox="1"/>
            <p:nvPr/>
          </p:nvSpPr>
          <p:spPr>
            <a:xfrm>
              <a:off x="9649642" y="4650610"/>
              <a:ext cx="4137462" cy="492443"/>
            </a:xfrm>
            <a:prstGeom prst="rect">
              <a:avLst/>
            </a:prstGeom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wrap="none" rtlCol="0">
              <a:spAutoFit/>
            </a:bodyPr>
            <a:lstStyle/>
            <a:p>
              <a:r>
                <a:rPr lang="en-US" dirty="0" smtClean="0"/>
                <a:t>JFK – New York Intl </a:t>
              </a:r>
              <a:r>
                <a:rPr lang="en-US" dirty="0" err="1" smtClean="0"/>
                <a:t>Airp</a:t>
              </a:r>
              <a:endParaRPr lang="en-US" dirty="0"/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9649642" y="3973271"/>
              <a:ext cx="2272454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To</a:t>
              </a:r>
              <a:endParaRPr lang="en-US" dirty="0"/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-202166" y="-277150"/>
            <a:ext cx="14891661" cy="2638230"/>
            <a:chOff x="-202166" y="-277150"/>
            <a:chExt cx="14891661" cy="2638230"/>
          </a:xfrm>
        </p:grpSpPr>
        <p:grpSp>
          <p:nvGrpSpPr>
            <p:cNvPr id="14" name="Group 13"/>
            <p:cNvGrpSpPr/>
            <p:nvPr/>
          </p:nvGrpSpPr>
          <p:grpSpPr>
            <a:xfrm>
              <a:off x="-202166" y="-277150"/>
              <a:ext cx="14832565" cy="2638230"/>
              <a:chOff x="-202166" y="-277150"/>
              <a:chExt cx="14832565" cy="2638230"/>
            </a:xfrm>
          </p:grpSpPr>
          <p:grpSp>
            <p:nvGrpSpPr>
              <p:cNvPr id="13" name="Group 12"/>
              <p:cNvGrpSpPr/>
              <p:nvPr/>
            </p:nvGrpSpPr>
            <p:grpSpPr>
              <a:xfrm flipH="1">
                <a:off x="3309692" y="-27035"/>
                <a:ext cx="11320707" cy="2146780"/>
                <a:chOff x="41560" y="-27035"/>
                <a:chExt cx="11093455" cy="2146780"/>
              </a:xfrm>
            </p:grpSpPr>
            <p:pic>
              <p:nvPicPr>
                <p:cNvPr id="3074" name="Picture 2"/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xmlns="" val="0"/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41560" y="-27035"/>
                  <a:ext cx="9538858" cy="2138001"/>
                </a:xfrm>
                <a:prstGeom prst="rect">
                  <a:avLst/>
                </a:prstGeom>
                <a:ln>
                  <a:noFill/>
                </a:ln>
                <a:effectLst/>
              </p:spPr>
            </p:pic>
            <p:sp>
              <p:nvSpPr>
                <p:cNvPr id="12" name="Rectangle 11"/>
                <p:cNvSpPr/>
                <p:nvPr/>
              </p:nvSpPr>
              <p:spPr>
                <a:xfrm>
                  <a:off x="41560" y="0"/>
                  <a:ext cx="11093455" cy="211974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2"/>
                    </a:gs>
                    <a:gs pos="20000">
                      <a:schemeClr val="accent2">
                        <a:alpha val="35000"/>
                      </a:schemeClr>
                    </a:gs>
                    <a:gs pos="100000">
                      <a:schemeClr val="accent2">
                        <a:alpha val="70000"/>
                      </a:schemeClr>
                    </a:gs>
                    <a:gs pos="82000">
                      <a:srgbClr val="002562"/>
                    </a:gs>
                    <a:gs pos="44000">
                      <a:schemeClr val="bg2">
                        <a:alpha val="0"/>
                      </a:schemeClr>
                    </a:gs>
                  </a:gsLst>
                  <a:lin ang="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pic>
            <p:nvPicPr>
              <p:cNvPr id="11" name="Picture 6" descr="Heads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xmlns="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02166" y="-277150"/>
                <a:ext cx="4067479" cy="26382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2" name="TextBox 1"/>
            <p:cNvSpPr txBox="1"/>
            <p:nvPr/>
          </p:nvSpPr>
          <p:spPr>
            <a:xfrm>
              <a:off x="4447212" y="598207"/>
              <a:ext cx="5700765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5400" kern="0" dirty="0">
                  <a:latin typeface="+mj-lt"/>
                  <a:ea typeface="MS PGothic" charset="0"/>
                  <a:cs typeface="Calibri" charset="0"/>
                </a:rPr>
                <a:t>Ana’s</a:t>
              </a:r>
              <a:r>
                <a:rPr lang="en-US" sz="3600" dirty="0" smtClean="0"/>
                <a:t> </a:t>
              </a:r>
              <a:r>
                <a:rPr lang="en-US" sz="5400" kern="0" dirty="0">
                  <a:solidFill>
                    <a:srgbClr val="83D1F5"/>
                  </a:solidFill>
                  <a:latin typeface="+mj-lt"/>
                  <a:ea typeface="MS PGothic" charset="0"/>
                  <a:cs typeface="Calibri" charset="0"/>
                </a:rPr>
                <a:t>Travel App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-93305" y="2110966"/>
              <a:ext cx="14782800" cy="125057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8" name="Picture 6" descr="Head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5065126" y="3632594"/>
            <a:ext cx="4067479" cy="26382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13052506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/>
        </p:nvGrpSpPr>
        <p:grpSpPr>
          <a:xfrm>
            <a:off x="-202166" y="-277150"/>
            <a:ext cx="14891661" cy="2638230"/>
            <a:chOff x="-202166" y="-277150"/>
            <a:chExt cx="14891661" cy="2638230"/>
          </a:xfrm>
        </p:grpSpPr>
        <p:grpSp>
          <p:nvGrpSpPr>
            <p:cNvPr id="20" name="Group 19"/>
            <p:cNvGrpSpPr/>
            <p:nvPr/>
          </p:nvGrpSpPr>
          <p:grpSpPr>
            <a:xfrm>
              <a:off x="-202166" y="-277150"/>
              <a:ext cx="14832565" cy="2638230"/>
              <a:chOff x="-202166" y="-277150"/>
              <a:chExt cx="14832565" cy="2638230"/>
            </a:xfrm>
          </p:grpSpPr>
          <p:grpSp>
            <p:nvGrpSpPr>
              <p:cNvPr id="23" name="Group 22"/>
              <p:cNvGrpSpPr/>
              <p:nvPr/>
            </p:nvGrpSpPr>
            <p:grpSpPr>
              <a:xfrm flipH="1">
                <a:off x="3309692" y="-27035"/>
                <a:ext cx="11320707" cy="2146780"/>
                <a:chOff x="41560" y="-27035"/>
                <a:chExt cx="11093455" cy="2146780"/>
              </a:xfrm>
            </p:grpSpPr>
            <p:pic>
              <p:nvPicPr>
                <p:cNvPr id="25" name="Picture 2"/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xmlns="" val="0"/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41560" y="-27035"/>
                  <a:ext cx="9538858" cy="2138001"/>
                </a:xfrm>
                <a:prstGeom prst="rect">
                  <a:avLst/>
                </a:prstGeom>
                <a:ln>
                  <a:noFill/>
                </a:ln>
                <a:effectLst/>
              </p:spPr>
            </p:pic>
            <p:sp>
              <p:nvSpPr>
                <p:cNvPr id="26" name="Rectangle 25"/>
                <p:cNvSpPr/>
                <p:nvPr/>
              </p:nvSpPr>
              <p:spPr>
                <a:xfrm>
                  <a:off x="41560" y="0"/>
                  <a:ext cx="11093455" cy="211974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2"/>
                    </a:gs>
                    <a:gs pos="20000">
                      <a:schemeClr val="accent2">
                        <a:alpha val="35000"/>
                      </a:schemeClr>
                    </a:gs>
                    <a:gs pos="100000">
                      <a:schemeClr val="accent2">
                        <a:alpha val="70000"/>
                      </a:schemeClr>
                    </a:gs>
                    <a:gs pos="82000">
                      <a:srgbClr val="002562"/>
                    </a:gs>
                    <a:gs pos="44000">
                      <a:schemeClr val="bg2">
                        <a:alpha val="0"/>
                      </a:schemeClr>
                    </a:gs>
                  </a:gsLst>
                  <a:lin ang="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pic>
            <p:nvPicPr>
              <p:cNvPr id="24" name="Picture 6" descr="Heads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xmlns="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02166" y="-277150"/>
                <a:ext cx="4067479" cy="26382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21" name="TextBox 20"/>
            <p:cNvSpPr txBox="1"/>
            <p:nvPr/>
          </p:nvSpPr>
          <p:spPr>
            <a:xfrm>
              <a:off x="4447212" y="598207"/>
              <a:ext cx="5700765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5400" kern="0" dirty="0">
                  <a:latin typeface="+mj-lt"/>
                  <a:ea typeface="MS PGothic" charset="0"/>
                  <a:cs typeface="Calibri" charset="0"/>
                </a:rPr>
                <a:t>Ana’s</a:t>
              </a:r>
              <a:r>
                <a:rPr lang="en-US" sz="3600" dirty="0" smtClean="0"/>
                <a:t> </a:t>
              </a:r>
              <a:r>
                <a:rPr lang="en-US" sz="5400" kern="0" dirty="0">
                  <a:solidFill>
                    <a:srgbClr val="83D1F5"/>
                  </a:solidFill>
                  <a:latin typeface="+mj-lt"/>
                  <a:ea typeface="MS PGothic" charset="0"/>
                  <a:cs typeface="Calibri" charset="0"/>
                </a:rPr>
                <a:t>Travel App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-93305" y="2110966"/>
              <a:ext cx="14782800" cy="125057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7" name="Picture 6" descr="Head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710292" y="5327002"/>
            <a:ext cx="4067479" cy="26382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3" name="Group 32"/>
          <p:cNvGrpSpPr/>
          <p:nvPr/>
        </p:nvGrpSpPr>
        <p:grpSpPr>
          <a:xfrm>
            <a:off x="10875756" y="2499856"/>
            <a:ext cx="1629794" cy="1067931"/>
            <a:chOff x="10875756" y="2499856"/>
            <a:chExt cx="1629794" cy="1067931"/>
          </a:xfrm>
        </p:grpSpPr>
        <p:sp>
          <p:nvSpPr>
            <p:cNvPr id="4" name="Rectangular Callout 3"/>
            <p:cNvSpPr/>
            <p:nvPr/>
          </p:nvSpPr>
          <p:spPr>
            <a:xfrm>
              <a:off x="10875756" y="2499856"/>
              <a:ext cx="1496627" cy="1067931"/>
            </a:xfrm>
            <a:prstGeom prst="wedgeRectCallout">
              <a:avLst>
                <a:gd name="adj1" fmla="val -21741"/>
                <a:gd name="adj2" fmla="val 238621"/>
              </a:avLst>
            </a:prstGeom>
            <a:solidFill>
              <a:srgbClr val="FF6600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11174336" y="2791555"/>
              <a:ext cx="1331214" cy="492443"/>
            </a:xfrm>
            <a:prstGeom prst="rect">
              <a:avLst/>
            </a:prstGeom>
            <a:noFill/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>
              <a:defPPr>
                <a:defRPr lang="en-US"/>
              </a:defPPr>
            </a:lstStyle>
            <a:p>
              <a:r>
                <a:rPr lang="en-US" dirty="0"/>
                <a:t>Yes.</a:t>
              </a: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12695894" y="4016019"/>
            <a:ext cx="1648556" cy="1193569"/>
            <a:chOff x="12695894" y="4016019"/>
            <a:chExt cx="1648556" cy="1193569"/>
          </a:xfrm>
        </p:grpSpPr>
        <p:sp>
          <p:nvSpPr>
            <p:cNvPr id="28" name="Rectangular Callout 27"/>
            <p:cNvSpPr/>
            <p:nvPr/>
          </p:nvSpPr>
          <p:spPr>
            <a:xfrm>
              <a:off x="12695894" y="4016019"/>
              <a:ext cx="1505298" cy="1193569"/>
            </a:xfrm>
            <a:prstGeom prst="wedgeRectCallout">
              <a:avLst>
                <a:gd name="adj1" fmla="val -102913"/>
                <a:gd name="adj2" fmla="val 125684"/>
              </a:avLst>
            </a:prstGeom>
            <a:solidFill>
              <a:srgbClr val="FF6600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12876240" y="4110544"/>
              <a:ext cx="1468210" cy="892552"/>
            </a:xfrm>
            <a:prstGeom prst="rect">
              <a:avLst/>
            </a:prstGeom>
            <a:noFill/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r>
                <a:rPr lang="en-US" dirty="0" smtClean="0"/>
                <a:t>The Empire</a:t>
              </a:r>
              <a:endParaRPr lang="en-US" dirty="0"/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2207890" y="2499856"/>
            <a:ext cx="5949971" cy="3301475"/>
            <a:chOff x="2207890" y="2499856"/>
            <a:chExt cx="5949971" cy="3301475"/>
          </a:xfrm>
        </p:grpSpPr>
        <p:sp>
          <p:nvSpPr>
            <p:cNvPr id="5" name="Rectangular Callout 4"/>
            <p:cNvSpPr/>
            <p:nvPr/>
          </p:nvSpPr>
          <p:spPr>
            <a:xfrm>
              <a:off x="2207890" y="2499856"/>
              <a:ext cx="5949971" cy="3301475"/>
            </a:xfrm>
            <a:custGeom>
              <a:avLst/>
              <a:gdLst>
                <a:gd name="connsiteX0" fmla="*/ 0 w 5107319"/>
                <a:gd name="connsiteY0" fmla="*/ 0 h 1045029"/>
                <a:gd name="connsiteX1" fmla="*/ 851220 w 5107319"/>
                <a:gd name="connsiteY1" fmla="*/ 0 h 1045029"/>
                <a:gd name="connsiteX2" fmla="*/ 851220 w 5107319"/>
                <a:gd name="connsiteY2" fmla="*/ 0 h 1045029"/>
                <a:gd name="connsiteX3" fmla="*/ 2128050 w 5107319"/>
                <a:gd name="connsiteY3" fmla="*/ 0 h 1045029"/>
                <a:gd name="connsiteX4" fmla="*/ 5107319 w 5107319"/>
                <a:gd name="connsiteY4" fmla="*/ 0 h 1045029"/>
                <a:gd name="connsiteX5" fmla="*/ 5107319 w 5107319"/>
                <a:gd name="connsiteY5" fmla="*/ 609600 h 1045029"/>
                <a:gd name="connsiteX6" fmla="*/ 5107319 w 5107319"/>
                <a:gd name="connsiteY6" fmla="*/ 609600 h 1045029"/>
                <a:gd name="connsiteX7" fmla="*/ 5107319 w 5107319"/>
                <a:gd name="connsiteY7" fmla="*/ 870858 h 1045029"/>
                <a:gd name="connsiteX8" fmla="*/ 5107319 w 5107319"/>
                <a:gd name="connsiteY8" fmla="*/ 1045029 h 1045029"/>
                <a:gd name="connsiteX9" fmla="*/ 2128050 w 5107319"/>
                <a:gd name="connsiteY9" fmla="*/ 1045029 h 1045029"/>
                <a:gd name="connsiteX10" fmla="*/ 2534967 w 5107319"/>
                <a:gd name="connsiteY10" fmla="*/ 3226830 h 1045029"/>
                <a:gd name="connsiteX11" fmla="*/ 851220 w 5107319"/>
                <a:gd name="connsiteY11" fmla="*/ 1045029 h 1045029"/>
                <a:gd name="connsiteX12" fmla="*/ 0 w 5107319"/>
                <a:gd name="connsiteY12" fmla="*/ 1045029 h 1045029"/>
                <a:gd name="connsiteX13" fmla="*/ 0 w 5107319"/>
                <a:gd name="connsiteY13" fmla="*/ 870858 h 1045029"/>
                <a:gd name="connsiteX14" fmla="*/ 0 w 5107319"/>
                <a:gd name="connsiteY14" fmla="*/ 609600 h 1045029"/>
                <a:gd name="connsiteX15" fmla="*/ 0 w 5107319"/>
                <a:gd name="connsiteY15" fmla="*/ 609600 h 1045029"/>
                <a:gd name="connsiteX16" fmla="*/ 0 w 5107319"/>
                <a:gd name="connsiteY16" fmla="*/ 0 h 1045029"/>
                <a:gd name="connsiteX0" fmla="*/ 0 w 5107319"/>
                <a:gd name="connsiteY0" fmla="*/ 0 h 3226830"/>
                <a:gd name="connsiteX1" fmla="*/ 851220 w 5107319"/>
                <a:gd name="connsiteY1" fmla="*/ 0 h 3226830"/>
                <a:gd name="connsiteX2" fmla="*/ 851220 w 5107319"/>
                <a:gd name="connsiteY2" fmla="*/ 0 h 3226830"/>
                <a:gd name="connsiteX3" fmla="*/ 2128050 w 5107319"/>
                <a:gd name="connsiteY3" fmla="*/ 0 h 3226830"/>
                <a:gd name="connsiteX4" fmla="*/ 5107319 w 5107319"/>
                <a:gd name="connsiteY4" fmla="*/ 0 h 3226830"/>
                <a:gd name="connsiteX5" fmla="*/ 5107319 w 5107319"/>
                <a:gd name="connsiteY5" fmla="*/ 609600 h 3226830"/>
                <a:gd name="connsiteX6" fmla="*/ 5107319 w 5107319"/>
                <a:gd name="connsiteY6" fmla="*/ 609600 h 3226830"/>
                <a:gd name="connsiteX7" fmla="*/ 5107319 w 5107319"/>
                <a:gd name="connsiteY7" fmla="*/ 870858 h 3226830"/>
                <a:gd name="connsiteX8" fmla="*/ 5107319 w 5107319"/>
                <a:gd name="connsiteY8" fmla="*/ 1045029 h 3226830"/>
                <a:gd name="connsiteX9" fmla="*/ 1624197 w 5107319"/>
                <a:gd name="connsiteY9" fmla="*/ 1063690 h 3226830"/>
                <a:gd name="connsiteX10" fmla="*/ 2534967 w 5107319"/>
                <a:gd name="connsiteY10" fmla="*/ 3226830 h 3226830"/>
                <a:gd name="connsiteX11" fmla="*/ 851220 w 5107319"/>
                <a:gd name="connsiteY11" fmla="*/ 1045029 h 3226830"/>
                <a:gd name="connsiteX12" fmla="*/ 0 w 5107319"/>
                <a:gd name="connsiteY12" fmla="*/ 1045029 h 3226830"/>
                <a:gd name="connsiteX13" fmla="*/ 0 w 5107319"/>
                <a:gd name="connsiteY13" fmla="*/ 870858 h 3226830"/>
                <a:gd name="connsiteX14" fmla="*/ 0 w 5107319"/>
                <a:gd name="connsiteY14" fmla="*/ 609600 h 3226830"/>
                <a:gd name="connsiteX15" fmla="*/ 0 w 5107319"/>
                <a:gd name="connsiteY15" fmla="*/ 609600 h 3226830"/>
                <a:gd name="connsiteX16" fmla="*/ 0 w 5107319"/>
                <a:gd name="connsiteY16" fmla="*/ 0 h 3226830"/>
                <a:gd name="connsiteX0" fmla="*/ 0 w 5107319"/>
                <a:gd name="connsiteY0" fmla="*/ 0 h 3469426"/>
                <a:gd name="connsiteX1" fmla="*/ 851220 w 5107319"/>
                <a:gd name="connsiteY1" fmla="*/ 0 h 3469426"/>
                <a:gd name="connsiteX2" fmla="*/ 851220 w 5107319"/>
                <a:gd name="connsiteY2" fmla="*/ 0 h 3469426"/>
                <a:gd name="connsiteX3" fmla="*/ 2128050 w 5107319"/>
                <a:gd name="connsiteY3" fmla="*/ 0 h 3469426"/>
                <a:gd name="connsiteX4" fmla="*/ 5107319 w 5107319"/>
                <a:gd name="connsiteY4" fmla="*/ 0 h 3469426"/>
                <a:gd name="connsiteX5" fmla="*/ 5107319 w 5107319"/>
                <a:gd name="connsiteY5" fmla="*/ 609600 h 3469426"/>
                <a:gd name="connsiteX6" fmla="*/ 5107319 w 5107319"/>
                <a:gd name="connsiteY6" fmla="*/ 609600 h 3469426"/>
                <a:gd name="connsiteX7" fmla="*/ 5107319 w 5107319"/>
                <a:gd name="connsiteY7" fmla="*/ 870858 h 3469426"/>
                <a:gd name="connsiteX8" fmla="*/ 5107319 w 5107319"/>
                <a:gd name="connsiteY8" fmla="*/ 1045029 h 3469426"/>
                <a:gd name="connsiteX9" fmla="*/ 1624197 w 5107319"/>
                <a:gd name="connsiteY9" fmla="*/ 1063690 h 3469426"/>
                <a:gd name="connsiteX10" fmla="*/ 3803930 w 5107319"/>
                <a:gd name="connsiteY10" fmla="*/ 3469426 h 3469426"/>
                <a:gd name="connsiteX11" fmla="*/ 851220 w 5107319"/>
                <a:gd name="connsiteY11" fmla="*/ 1045029 h 3469426"/>
                <a:gd name="connsiteX12" fmla="*/ 0 w 5107319"/>
                <a:gd name="connsiteY12" fmla="*/ 1045029 h 3469426"/>
                <a:gd name="connsiteX13" fmla="*/ 0 w 5107319"/>
                <a:gd name="connsiteY13" fmla="*/ 870858 h 3469426"/>
                <a:gd name="connsiteX14" fmla="*/ 0 w 5107319"/>
                <a:gd name="connsiteY14" fmla="*/ 609600 h 3469426"/>
                <a:gd name="connsiteX15" fmla="*/ 0 w 5107319"/>
                <a:gd name="connsiteY15" fmla="*/ 609600 h 3469426"/>
                <a:gd name="connsiteX16" fmla="*/ 0 w 5107319"/>
                <a:gd name="connsiteY16" fmla="*/ 0 h 3469426"/>
                <a:gd name="connsiteX0" fmla="*/ 0 w 5107319"/>
                <a:gd name="connsiteY0" fmla="*/ 0 h 3469426"/>
                <a:gd name="connsiteX1" fmla="*/ 851220 w 5107319"/>
                <a:gd name="connsiteY1" fmla="*/ 0 h 3469426"/>
                <a:gd name="connsiteX2" fmla="*/ 851220 w 5107319"/>
                <a:gd name="connsiteY2" fmla="*/ 0 h 3469426"/>
                <a:gd name="connsiteX3" fmla="*/ 2128050 w 5107319"/>
                <a:gd name="connsiteY3" fmla="*/ 0 h 3469426"/>
                <a:gd name="connsiteX4" fmla="*/ 5107319 w 5107319"/>
                <a:gd name="connsiteY4" fmla="*/ 0 h 3469426"/>
                <a:gd name="connsiteX5" fmla="*/ 5107319 w 5107319"/>
                <a:gd name="connsiteY5" fmla="*/ 609600 h 3469426"/>
                <a:gd name="connsiteX6" fmla="*/ 5107319 w 5107319"/>
                <a:gd name="connsiteY6" fmla="*/ 609600 h 3469426"/>
                <a:gd name="connsiteX7" fmla="*/ 5107319 w 5107319"/>
                <a:gd name="connsiteY7" fmla="*/ 870858 h 3469426"/>
                <a:gd name="connsiteX8" fmla="*/ 5107319 w 5107319"/>
                <a:gd name="connsiteY8" fmla="*/ 1045029 h 3469426"/>
                <a:gd name="connsiteX9" fmla="*/ 4162122 w 5107319"/>
                <a:gd name="connsiteY9" fmla="*/ 1045029 h 3469426"/>
                <a:gd name="connsiteX10" fmla="*/ 3803930 w 5107319"/>
                <a:gd name="connsiteY10" fmla="*/ 3469426 h 3469426"/>
                <a:gd name="connsiteX11" fmla="*/ 851220 w 5107319"/>
                <a:gd name="connsiteY11" fmla="*/ 1045029 h 3469426"/>
                <a:gd name="connsiteX12" fmla="*/ 0 w 5107319"/>
                <a:gd name="connsiteY12" fmla="*/ 1045029 h 3469426"/>
                <a:gd name="connsiteX13" fmla="*/ 0 w 5107319"/>
                <a:gd name="connsiteY13" fmla="*/ 870858 h 3469426"/>
                <a:gd name="connsiteX14" fmla="*/ 0 w 5107319"/>
                <a:gd name="connsiteY14" fmla="*/ 609600 h 3469426"/>
                <a:gd name="connsiteX15" fmla="*/ 0 w 5107319"/>
                <a:gd name="connsiteY15" fmla="*/ 609600 h 3469426"/>
                <a:gd name="connsiteX16" fmla="*/ 0 w 5107319"/>
                <a:gd name="connsiteY16" fmla="*/ 0 h 3469426"/>
                <a:gd name="connsiteX0" fmla="*/ 0 w 5107319"/>
                <a:gd name="connsiteY0" fmla="*/ 0 h 3469426"/>
                <a:gd name="connsiteX1" fmla="*/ 851220 w 5107319"/>
                <a:gd name="connsiteY1" fmla="*/ 0 h 3469426"/>
                <a:gd name="connsiteX2" fmla="*/ 851220 w 5107319"/>
                <a:gd name="connsiteY2" fmla="*/ 0 h 3469426"/>
                <a:gd name="connsiteX3" fmla="*/ 2128050 w 5107319"/>
                <a:gd name="connsiteY3" fmla="*/ 0 h 3469426"/>
                <a:gd name="connsiteX4" fmla="*/ 5107319 w 5107319"/>
                <a:gd name="connsiteY4" fmla="*/ 0 h 3469426"/>
                <a:gd name="connsiteX5" fmla="*/ 5107319 w 5107319"/>
                <a:gd name="connsiteY5" fmla="*/ 609600 h 3469426"/>
                <a:gd name="connsiteX6" fmla="*/ 5107319 w 5107319"/>
                <a:gd name="connsiteY6" fmla="*/ 609600 h 3469426"/>
                <a:gd name="connsiteX7" fmla="*/ 5107319 w 5107319"/>
                <a:gd name="connsiteY7" fmla="*/ 870858 h 3469426"/>
                <a:gd name="connsiteX8" fmla="*/ 5107319 w 5107319"/>
                <a:gd name="connsiteY8" fmla="*/ 1045029 h 3469426"/>
                <a:gd name="connsiteX9" fmla="*/ 4162122 w 5107319"/>
                <a:gd name="connsiteY9" fmla="*/ 1045029 h 3469426"/>
                <a:gd name="connsiteX10" fmla="*/ 3803930 w 5107319"/>
                <a:gd name="connsiteY10" fmla="*/ 3469426 h 3469426"/>
                <a:gd name="connsiteX11" fmla="*/ 3631742 w 5107319"/>
                <a:gd name="connsiteY11" fmla="*/ 1063691 h 3469426"/>
                <a:gd name="connsiteX12" fmla="*/ 0 w 5107319"/>
                <a:gd name="connsiteY12" fmla="*/ 1045029 h 3469426"/>
                <a:gd name="connsiteX13" fmla="*/ 0 w 5107319"/>
                <a:gd name="connsiteY13" fmla="*/ 870858 h 3469426"/>
                <a:gd name="connsiteX14" fmla="*/ 0 w 5107319"/>
                <a:gd name="connsiteY14" fmla="*/ 609600 h 3469426"/>
                <a:gd name="connsiteX15" fmla="*/ 0 w 5107319"/>
                <a:gd name="connsiteY15" fmla="*/ 609600 h 3469426"/>
                <a:gd name="connsiteX16" fmla="*/ 0 w 5107319"/>
                <a:gd name="connsiteY16" fmla="*/ 0 h 3469426"/>
                <a:gd name="connsiteX0" fmla="*/ 0 w 5949969"/>
                <a:gd name="connsiteY0" fmla="*/ 0 h 3301475"/>
                <a:gd name="connsiteX1" fmla="*/ 851220 w 5949969"/>
                <a:gd name="connsiteY1" fmla="*/ 0 h 3301475"/>
                <a:gd name="connsiteX2" fmla="*/ 851220 w 5949969"/>
                <a:gd name="connsiteY2" fmla="*/ 0 h 3301475"/>
                <a:gd name="connsiteX3" fmla="*/ 2128050 w 5949969"/>
                <a:gd name="connsiteY3" fmla="*/ 0 h 3301475"/>
                <a:gd name="connsiteX4" fmla="*/ 5107319 w 5949969"/>
                <a:gd name="connsiteY4" fmla="*/ 0 h 3301475"/>
                <a:gd name="connsiteX5" fmla="*/ 5107319 w 5949969"/>
                <a:gd name="connsiteY5" fmla="*/ 609600 h 3301475"/>
                <a:gd name="connsiteX6" fmla="*/ 5107319 w 5949969"/>
                <a:gd name="connsiteY6" fmla="*/ 609600 h 3301475"/>
                <a:gd name="connsiteX7" fmla="*/ 5107319 w 5949969"/>
                <a:gd name="connsiteY7" fmla="*/ 870858 h 3301475"/>
                <a:gd name="connsiteX8" fmla="*/ 5107319 w 5949969"/>
                <a:gd name="connsiteY8" fmla="*/ 1045029 h 3301475"/>
                <a:gd name="connsiteX9" fmla="*/ 4162122 w 5949969"/>
                <a:gd name="connsiteY9" fmla="*/ 1045029 h 3301475"/>
                <a:gd name="connsiteX10" fmla="*/ 5949969 w 5949969"/>
                <a:gd name="connsiteY10" fmla="*/ 3301475 h 3301475"/>
                <a:gd name="connsiteX11" fmla="*/ 3631742 w 5949969"/>
                <a:gd name="connsiteY11" fmla="*/ 1063691 h 3301475"/>
                <a:gd name="connsiteX12" fmla="*/ 0 w 5949969"/>
                <a:gd name="connsiteY12" fmla="*/ 1045029 h 3301475"/>
                <a:gd name="connsiteX13" fmla="*/ 0 w 5949969"/>
                <a:gd name="connsiteY13" fmla="*/ 870858 h 3301475"/>
                <a:gd name="connsiteX14" fmla="*/ 0 w 5949969"/>
                <a:gd name="connsiteY14" fmla="*/ 609600 h 3301475"/>
                <a:gd name="connsiteX15" fmla="*/ 0 w 5949969"/>
                <a:gd name="connsiteY15" fmla="*/ 609600 h 3301475"/>
                <a:gd name="connsiteX16" fmla="*/ 0 w 5949969"/>
                <a:gd name="connsiteY16" fmla="*/ 0 h 330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5949969" h="3301475">
                  <a:moveTo>
                    <a:pt x="0" y="0"/>
                  </a:moveTo>
                  <a:lnTo>
                    <a:pt x="851220" y="0"/>
                  </a:lnTo>
                  <a:lnTo>
                    <a:pt x="851220" y="0"/>
                  </a:lnTo>
                  <a:lnTo>
                    <a:pt x="2128050" y="0"/>
                  </a:lnTo>
                  <a:lnTo>
                    <a:pt x="5107319" y="0"/>
                  </a:lnTo>
                  <a:lnTo>
                    <a:pt x="5107319" y="609600"/>
                  </a:lnTo>
                  <a:lnTo>
                    <a:pt x="5107319" y="609600"/>
                  </a:lnTo>
                  <a:lnTo>
                    <a:pt x="5107319" y="870858"/>
                  </a:lnTo>
                  <a:lnTo>
                    <a:pt x="5107319" y="1045029"/>
                  </a:lnTo>
                  <a:lnTo>
                    <a:pt x="4162122" y="1045029"/>
                  </a:lnTo>
                  <a:lnTo>
                    <a:pt x="5949969" y="3301475"/>
                  </a:lnTo>
                  <a:lnTo>
                    <a:pt x="3631742" y="1063691"/>
                  </a:lnTo>
                  <a:lnTo>
                    <a:pt x="0" y="1045029"/>
                  </a:lnTo>
                  <a:lnTo>
                    <a:pt x="0" y="870858"/>
                  </a:lnTo>
                  <a:lnTo>
                    <a:pt x="0" y="609600"/>
                  </a:lnTo>
                  <a:lnTo>
                    <a:pt x="0" y="609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alpha val="50000"/>
              </a:schemeClr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wrap="square" rtlCol="0">
              <a:noAutofit/>
            </a:bodyPr>
            <a:lstStyle/>
            <a:p>
              <a:endParaRPr lang="en-US"/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2349217" y="2572841"/>
              <a:ext cx="4904016" cy="892552"/>
            </a:xfrm>
            <a:prstGeom prst="rect">
              <a:avLst/>
            </a:prstGeom>
            <a:noFill/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r>
                <a:rPr lang="en-US" dirty="0" smtClean="0"/>
                <a:t>Are you going to the New York Film Festival at Lincoln Center? </a:t>
              </a:r>
              <a:endParaRPr lang="en-US" dirty="0"/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279918" y="4014063"/>
            <a:ext cx="7808621" cy="2780932"/>
            <a:chOff x="279918" y="4014063"/>
            <a:chExt cx="7808621" cy="2780932"/>
          </a:xfrm>
        </p:grpSpPr>
        <p:sp>
          <p:nvSpPr>
            <p:cNvPr id="7" name="Rectangular Callout 6"/>
            <p:cNvSpPr/>
            <p:nvPr/>
          </p:nvSpPr>
          <p:spPr>
            <a:xfrm>
              <a:off x="279918" y="4014063"/>
              <a:ext cx="7808621" cy="2780932"/>
            </a:xfrm>
            <a:custGeom>
              <a:avLst/>
              <a:gdLst>
                <a:gd name="connsiteX0" fmla="*/ 0 w 3902296"/>
                <a:gd name="connsiteY0" fmla="*/ 0 h 3940989"/>
                <a:gd name="connsiteX1" fmla="*/ 2276339 w 3902296"/>
                <a:gd name="connsiteY1" fmla="*/ 0 h 3940989"/>
                <a:gd name="connsiteX2" fmla="*/ 2276339 w 3902296"/>
                <a:gd name="connsiteY2" fmla="*/ 0 h 3940989"/>
                <a:gd name="connsiteX3" fmla="*/ 3251913 w 3902296"/>
                <a:gd name="connsiteY3" fmla="*/ 0 h 3940989"/>
                <a:gd name="connsiteX4" fmla="*/ 3902296 w 3902296"/>
                <a:gd name="connsiteY4" fmla="*/ 0 h 3940989"/>
                <a:gd name="connsiteX5" fmla="*/ 3902296 w 3902296"/>
                <a:gd name="connsiteY5" fmla="*/ 2298910 h 3940989"/>
                <a:gd name="connsiteX6" fmla="*/ 7008289 w 3902296"/>
                <a:gd name="connsiteY6" fmla="*/ 3637966 h 3940989"/>
                <a:gd name="connsiteX7" fmla="*/ 3902296 w 3902296"/>
                <a:gd name="connsiteY7" fmla="*/ 3284158 h 3940989"/>
                <a:gd name="connsiteX8" fmla="*/ 3902296 w 3902296"/>
                <a:gd name="connsiteY8" fmla="*/ 3940989 h 3940989"/>
                <a:gd name="connsiteX9" fmla="*/ 3251913 w 3902296"/>
                <a:gd name="connsiteY9" fmla="*/ 3940989 h 3940989"/>
                <a:gd name="connsiteX10" fmla="*/ 2276339 w 3902296"/>
                <a:gd name="connsiteY10" fmla="*/ 3940989 h 3940989"/>
                <a:gd name="connsiteX11" fmla="*/ 2276339 w 3902296"/>
                <a:gd name="connsiteY11" fmla="*/ 3940989 h 3940989"/>
                <a:gd name="connsiteX12" fmla="*/ 0 w 3902296"/>
                <a:gd name="connsiteY12" fmla="*/ 3940989 h 3940989"/>
                <a:gd name="connsiteX13" fmla="*/ 0 w 3902296"/>
                <a:gd name="connsiteY13" fmla="*/ 3284158 h 3940989"/>
                <a:gd name="connsiteX14" fmla="*/ 0 w 3902296"/>
                <a:gd name="connsiteY14" fmla="*/ 2298910 h 3940989"/>
                <a:gd name="connsiteX15" fmla="*/ 0 w 3902296"/>
                <a:gd name="connsiteY15" fmla="*/ 2298910 h 3940989"/>
                <a:gd name="connsiteX16" fmla="*/ 0 w 3902296"/>
                <a:gd name="connsiteY16" fmla="*/ 0 h 3940989"/>
                <a:gd name="connsiteX0" fmla="*/ 0 w 6579081"/>
                <a:gd name="connsiteY0" fmla="*/ 0 h 3940989"/>
                <a:gd name="connsiteX1" fmla="*/ 2276339 w 6579081"/>
                <a:gd name="connsiteY1" fmla="*/ 0 h 3940989"/>
                <a:gd name="connsiteX2" fmla="*/ 2276339 w 6579081"/>
                <a:gd name="connsiteY2" fmla="*/ 0 h 3940989"/>
                <a:gd name="connsiteX3" fmla="*/ 3251913 w 6579081"/>
                <a:gd name="connsiteY3" fmla="*/ 0 h 3940989"/>
                <a:gd name="connsiteX4" fmla="*/ 3902296 w 6579081"/>
                <a:gd name="connsiteY4" fmla="*/ 0 h 3940989"/>
                <a:gd name="connsiteX5" fmla="*/ 3902296 w 6579081"/>
                <a:gd name="connsiteY5" fmla="*/ 2298910 h 3940989"/>
                <a:gd name="connsiteX6" fmla="*/ 6579081 w 6579081"/>
                <a:gd name="connsiteY6" fmla="*/ 3619305 h 3940989"/>
                <a:gd name="connsiteX7" fmla="*/ 3902296 w 6579081"/>
                <a:gd name="connsiteY7" fmla="*/ 3284158 h 3940989"/>
                <a:gd name="connsiteX8" fmla="*/ 3902296 w 6579081"/>
                <a:gd name="connsiteY8" fmla="*/ 3940989 h 3940989"/>
                <a:gd name="connsiteX9" fmla="*/ 3251913 w 6579081"/>
                <a:gd name="connsiteY9" fmla="*/ 3940989 h 3940989"/>
                <a:gd name="connsiteX10" fmla="*/ 2276339 w 6579081"/>
                <a:gd name="connsiteY10" fmla="*/ 3940989 h 3940989"/>
                <a:gd name="connsiteX11" fmla="*/ 2276339 w 6579081"/>
                <a:gd name="connsiteY11" fmla="*/ 3940989 h 3940989"/>
                <a:gd name="connsiteX12" fmla="*/ 0 w 6579081"/>
                <a:gd name="connsiteY12" fmla="*/ 3940989 h 3940989"/>
                <a:gd name="connsiteX13" fmla="*/ 0 w 6579081"/>
                <a:gd name="connsiteY13" fmla="*/ 3284158 h 3940989"/>
                <a:gd name="connsiteX14" fmla="*/ 0 w 6579081"/>
                <a:gd name="connsiteY14" fmla="*/ 2298910 h 3940989"/>
                <a:gd name="connsiteX15" fmla="*/ 0 w 6579081"/>
                <a:gd name="connsiteY15" fmla="*/ 2298910 h 3940989"/>
                <a:gd name="connsiteX16" fmla="*/ 0 w 6579081"/>
                <a:gd name="connsiteY16" fmla="*/ 0 h 3940989"/>
                <a:gd name="connsiteX0" fmla="*/ 0 w 6579081"/>
                <a:gd name="connsiteY0" fmla="*/ 0 h 3940989"/>
                <a:gd name="connsiteX1" fmla="*/ 2276339 w 6579081"/>
                <a:gd name="connsiteY1" fmla="*/ 0 h 3940989"/>
                <a:gd name="connsiteX2" fmla="*/ 2276339 w 6579081"/>
                <a:gd name="connsiteY2" fmla="*/ 0 h 3940989"/>
                <a:gd name="connsiteX3" fmla="*/ 3251913 w 6579081"/>
                <a:gd name="connsiteY3" fmla="*/ 0 h 3940989"/>
                <a:gd name="connsiteX4" fmla="*/ 3902296 w 6579081"/>
                <a:gd name="connsiteY4" fmla="*/ 0 h 3940989"/>
                <a:gd name="connsiteX5" fmla="*/ 3902296 w 6579081"/>
                <a:gd name="connsiteY5" fmla="*/ 2821424 h 3940989"/>
                <a:gd name="connsiteX6" fmla="*/ 6579081 w 6579081"/>
                <a:gd name="connsiteY6" fmla="*/ 3619305 h 3940989"/>
                <a:gd name="connsiteX7" fmla="*/ 3902296 w 6579081"/>
                <a:gd name="connsiteY7" fmla="*/ 3284158 h 3940989"/>
                <a:gd name="connsiteX8" fmla="*/ 3902296 w 6579081"/>
                <a:gd name="connsiteY8" fmla="*/ 3940989 h 3940989"/>
                <a:gd name="connsiteX9" fmla="*/ 3251913 w 6579081"/>
                <a:gd name="connsiteY9" fmla="*/ 3940989 h 3940989"/>
                <a:gd name="connsiteX10" fmla="*/ 2276339 w 6579081"/>
                <a:gd name="connsiteY10" fmla="*/ 3940989 h 3940989"/>
                <a:gd name="connsiteX11" fmla="*/ 2276339 w 6579081"/>
                <a:gd name="connsiteY11" fmla="*/ 3940989 h 3940989"/>
                <a:gd name="connsiteX12" fmla="*/ 0 w 6579081"/>
                <a:gd name="connsiteY12" fmla="*/ 3940989 h 3940989"/>
                <a:gd name="connsiteX13" fmla="*/ 0 w 6579081"/>
                <a:gd name="connsiteY13" fmla="*/ 3284158 h 3940989"/>
                <a:gd name="connsiteX14" fmla="*/ 0 w 6579081"/>
                <a:gd name="connsiteY14" fmla="*/ 2298910 h 3940989"/>
                <a:gd name="connsiteX15" fmla="*/ 0 w 6579081"/>
                <a:gd name="connsiteY15" fmla="*/ 2298910 h 3940989"/>
                <a:gd name="connsiteX16" fmla="*/ 0 w 6579081"/>
                <a:gd name="connsiteY16" fmla="*/ 0 h 3940989"/>
                <a:gd name="connsiteX0" fmla="*/ 0 w 7773399"/>
                <a:gd name="connsiteY0" fmla="*/ 0 h 3940989"/>
                <a:gd name="connsiteX1" fmla="*/ 2276339 w 7773399"/>
                <a:gd name="connsiteY1" fmla="*/ 0 h 3940989"/>
                <a:gd name="connsiteX2" fmla="*/ 2276339 w 7773399"/>
                <a:gd name="connsiteY2" fmla="*/ 0 h 3940989"/>
                <a:gd name="connsiteX3" fmla="*/ 3251913 w 7773399"/>
                <a:gd name="connsiteY3" fmla="*/ 0 h 3940989"/>
                <a:gd name="connsiteX4" fmla="*/ 3902296 w 7773399"/>
                <a:gd name="connsiteY4" fmla="*/ 0 h 3940989"/>
                <a:gd name="connsiteX5" fmla="*/ 3902296 w 7773399"/>
                <a:gd name="connsiteY5" fmla="*/ 2821424 h 3940989"/>
                <a:gd name="connsiteX6" fmla="*/ 7773399 w 7773399"/>
                <a:gd name="connsiteY6" fmla="*/ 3481484 h 3940989"/>
                <a:gd name="connsiteX7" fmla="*/ 3902296 w 7773399"/>
                <a:gd name="connsiteY7" fmla="*/ 3284158 h 3940989"/>
                <a:gd name="connsiteX8" fmla="*/ 3902296 w 7773399"/>
                <a:gd name="connsiteY8" fmla="*/ 3940989 h 3940989"/>
                <a:gd name="connsiteX9" fmla="*/ 3251913 w 7773399"/>
                <a:gd name="connsiteY9" fmla="*/ 3940989 h 3940989"/>
                <a:gd name="connsiteX10" fmla="*/ 2276339 w 7773399"/>
                <a:gd name="connsiteY10" fmla="*/ 3940989 h 3940989"/>
                <a:gd name="connsiteX11" fmla="*/ 2276339 w 7773399"/>
                <a:gd name="connsiteY11" fmla="*/ 3940989 h 3940989"/>
                <a:gd name="connsiteX12" fmla="*/ 0 w 7773399"/>
                <a:gd name="connsiteY12" fmla="*/ 3940989 h 3940989"/>
                <a:gd name="connsiteX13" fmla="*/ 0 w 7773399"/>
                <a:gd name="connsiteY13" fmla="*/ 3284158 h 3940989"/>
                <a:gd name="connsiteX14" fmla="*/ 0 w 7773399"/>
                <a:gd name="connsiteY14" fmla="*/ 2298910 h 3940989"/>
                <a:gd name="connsiteX15" fmla="*/ 0 w 7773399"/>
                <a:gd name="connsiteY15" fmla="*/ 2298910 h 3940989"/>
                <a:gd name="connsiteX16" fmla="*/ 0 w 7773399"/>
                <a:gd name="connsiteY16" fmla="*/ 0 h 3940989"/>
                <a:gd name="connsiteX0" fmla="*/ 0 w 11134109"/>
                <a:gd name="connsiteY0" fmla="*/ 0 h 3940989"/>
                <a:gd name="connsiteX1" fmla="*/ 5637049 w 11134109"/>
                <a:gd name="connsiteY1" fmla="*/ 0 h 3940989"/>
                <a:gd name="connsiteX2" fmla="*/ 5637049 w 11134109"/>
                <a:gd name="connsiteY2" fmla="*/ 0 h 3940989"/>
                <a:gd name="connsiteX3" fmla="*/ 6612623 w 11134109"/>
                <a:gd name="connsiteY3" fmla="*/ 0 h 3940989"/>
                <a:gd name="connsiteX4" fmla="*/ 7263006 w 11134109"/>
                <a:gd name="connsiteY4" fmla="*/ 0 h 3940989"/>
                <a:gd name="connsiteX5" fmla="*/ 7263006 w 11134109"/>
                <a:gd name="connsiteY5" fmla="*/ 2821424 h 3940989"/>
                <a:gd name="connsiteX6" fmla="*/ 11134109 w 11134109"/>
                <a:gd name="connsiteY6" fmla="*/ 3481484 h 3940989"/>
                <a:gd name="connsiteX7" fmla="*/ 7263006 w 11134109"/>
                <a:gd name="connsiteY7" fmla="*/ 3284158 h 3940989"/>
                <a:gd name="connsiteX8" fmla="*/ 7263006 w 11134109"/>
                <a:gd name="connsiteY8" fmla="*/ 3940989 h 3940989"/>
                <a:gd name="connsiteX9" fmla="*/ 6612623 w 11134109"/>
                <a:gd name="connsiteY9" fmla="*/ 3940989 h 3940989"/>
                <a:gd name="connsiteX10" fmla="*/ 5637049 w 11134109"/>
                <a:gd name="connsiteY10" fmla="*/ 3940989 h 3940989"/>
                <a:gd name="connsiteX11" fmla="*/ 5637049 w 11134109"/>
                <a:gd name="connsiteY11" fmla="*/ 3940989 h 3940989"/>
                <a:gd name="connsiteX12" fmla="*/ 3360710 w 11134109"/>
                <a:gd name="connsiteY12" fmla="*/ 3940989 h 3940989"/>
                <a:gd name="connsiteX13" fmla="*/ 3360710 w 11134109"/>
                <a:gd name="connsiteY13" fmla="*/ 3284158 h 3940989"/>
                <a:gd name="connsiteX14" fmla="*/ 3360710 w 11134109"/>
                <a:gd name="connsiteY14" fmla="*/ 2298910 h 3940989"/>
                <a:gd name="connsiteX15" fmla="*/ 3360710 w 11134109"/>
                <a:gd name="connsiteY15" fmla="*/ 2298910 h 3940989"/>
                <a:gd name="connsiteX16" fmla="*/ 0 w 11134109"/>
                <a:gd name="connsiteY16" fmla="*/ 0 h 3940989"/>
                <a:gd name="connsiteX0" fmla="*/ 26671 w 11160780"/>
                <a:gd name="connsiteY0" fmla="*/ 0 h 4021957"/>
                <a:gd name="connsiteX1" fmla="*/ 5663720 w 11160780"/>
                <a:gd name="connsiteY1" fmla="*/ 0 h 4021957"/>
                <a:gd name="connsiteX2" fmla="*/ 5663720 w 11160780"/>
                <a:gd name="connsiteY2" fmla="*/ 0 h 4021957"/>
                <a:gd name="connsiteX3" fmla="*/ 6639294 w 11160780"/>
                <a:gd name="connsiteY3" fmla="*/ 0 h 4021957"/>
                <a:gd name="connsiteX4" fmla="*/ 7289677 w 11160780"/>
                <a:gd name="connsiteY4" fmla="*/ 0 h 4021957"/>
                <a:gd name="connsiteX5" fmla="*/ 7289677 w 11160780"/>
                <a:gd name="connsiteY5" fmla="*/ 2821424 h 4021957"/>
                <a:gd name="connsiteX6" fmla="*/ 11160780 w 11160780"/>
                <a:gd name="connsiteY6" fmla="*/ 3481484 h 4021957"/>
                <a:gd name="connsiteX7" fmla="*/ 7289677 w 11160780"/>
                <a:gd name="connsiteY7" fmla="*/ 3284158 h 4021957"/>
                <a:gd name="connsiteX8" fmla="*/ 7289677 w 11160780"/>
                <a:gd name="connsiteY8" fmla="*/ 3940989 h 4021957"/>
                <a:gd name="connsiteX9" fmla="*/ 6639294 w 11160780"/>
                <a:gd name="connsiteY9" fmla="*/ 3940989 h 4021957"/>
                <a:gd name="connsiteX10" fmla="*/ 5663720 w 11160780"/>
                <a:gd name="connsiteY10" fmla="*/ 3940989 h 4021957"/>
                <a:gd name="connsiteX11" fmla="*/ 5663720 w 11160780"/>
                <a:gd name="connsiteY11" fmla="*/ 3940989 h 4021957"/>
                <a:gd name="connsiteX12" fmla="*/ 0 w 11160780"/>
                <a:gd name="connsiteY12" fmla="*/ 4021957 h 4021957"/>
                <a:gd name="connsiteX13" fmla="*/ 3387381 w 11160780"/>
                <a:gd name="connsiteY13" fmla="*/ 3284158 h 4021957"/>
                <a:gd name="connsiteX14" fmla="*/ 3387381 w 11160780"/>
                <a:gd name="connsiteY14" fmla="*/ 2298910 h 4021957"/>
                <a:gd name="connsiteX15" fmla="*/ 3387381 w 11160780"/>
                <a:gd name="connsiteY15" fmla="*/ 2298910 h 4021957"/>
                <a:gd name="connsiteX16" fmla="*/ 26671 w 11160780"/>
                <a:gd name="connsiteY16" fmla="*/ 0 h 4021957"/>
                <a:gd name="connsiteX0" fmla="*/ 26671 w 11160780"/>
                <a:gd name="connsiteY0" fmla="*/ 0 h 4021957"/>
                <a:gd name="connsiteX1" fmla="*/ 5663720 w 11160780"/>
                <a:gd name="connsiteY1" fmla="*/ 0 h 4021957"/>
                <a:gd name="connsiteX2" fmla="*/ 5663720 w 11160780"/>
                <a:gd name="connsiteY2" fmla="*/ 0 h 4021957"/>
                <a:gd name="connsiteX3" fmla="*/ 6639294 w 11160780"/>
                <a:gd name="connsiteY3" fmla="*/ 0 h 4021957"/>
                <a:gd name="connsiteX4" fmla="*/ 7289677 w 11160780"/>
                <a:gd name="connsiteY4" fmla="*/ 0 h 4021957"/>
                <a:gd name="connsiteX5" fmla="*/ 7289677 w 11160780"/>
                <a:gd name="connsiteY5" fmla="*/ 2821424 h 4021957"/>
                <a:gd name="connsiteX6" fmla="*/ 11160780 w 11160780"/>
                <a:gd name="connsiteY6" fmla="*/ 3481484 h 4021957"/>
                <a:gd name="connsiteX7" fmla="*/ 7289677 w 11160780"/>
                <a:gd name="connsiteY7" fmla="*/ 3284158 h 4021957"/>
                <a:gd name="connsiteX8" fmla="*/ 7289677 w 11160780"/>
                <a:gd name="connsiteY8" fmla="*/ 3940989 h 4021957"/>
                <a:gd name="connsiteX9" fmla="*/ 6639294 w 11160780"/>
                <a:gd name="connsiteY9" fmla="*/ 3940989 h 4021957"/>
                <a:gd name="connsiteX10" fmla="*/ 5663720 w 11160780"/>
                <a:gd name="connsiteY10" fmla="*/ 3940989 h 4021957"/>
                <a:gd name="connsiteX11" fmla="*/ 5663720 w 11160780"/>
                <a:gd name="connsiteY11" fmla="*/ 3940989 h 4021957"/>
                <a:gd name="connsiteX12" fmla="*/ 0 w 11160780"/>
                <a:gd name="connsiteY12" fmla="*/ 4021957 h 4021957"/>
                <a:gd name="connsiteX13" fmla="*/ 3387381 w 11160780"/>
                <a:gd name="connsiteY13" fmla="*/ 3284158 h 4021957"/>
                <a:gd name="connsiteX14" fmla="*/ 3387381 w 11160780"/>
                <a:gd name="connsiteY14" fmla="*/ 2298910 h 4021957"/>
                <a:gd name="connsiteX15" fmla="*/ 26671 w 11160780"/>
                <a:gd name="connsiteY15" fmla="*/ 0 h 4021957"/>
                <a:gd name="connsiteX0" fmla="*/ 26671 w 11160780"/>
                <a:gd name="connsiteY0" fmla="*/ 0 h 4021957"/>
                <a:gd name="connsiteX1" fmla="*/ 5663720 w 11160780"/>
                <a:gd name="connsiteY1" fmla="*/ 0 h 4021957"/>
                <a:gd name="connsiteX2" fmla="*/ 5663720 w 11160780"/>
                <a:gd name="connsiteY2" fmla="*/ 0 h 4021957"/>
                <a:gd name="connsiteX3" fmla="*/ 6639294 w 11160780"/>
                <a:gd name="connsiteY3" fmla="*/ 0 h 4021957"/>
                <a:gd name="connsiteX4" fmla="*/ 7289677 w 11160780"/>
                <a:gd name="connsiteY4" fmla="*/ 0 h 4021957"/>
                <a:gd name="connsiteX5" fmla="*/ 7289677 w 11160780"/>
                <a:gd name="connsiteY5" fmla="*/ 2821424 h 4021957"/>
                <a:gd name="connsiteX6" fmla="*/ 11160780 w 11160780"/>
                <a:gd name="connsiteY6" fmla="*/ 3481484 h 4021957"/>
                <a:gd name="connsiteX7" fmla="*/ 7289677 w 11160780"/>
                <a:gd name="connsiteY7" fmla="*/ 3284158 h 4021957"/>
                <a:gd name="connsiteX8" fmla="*/ 7289677 w 11160780"/>
                <a:gd name="connsiteY8" fmla="*/ 3940989 h 4021957"/>
                <a:gd name="connsiteX9" fmla="*/ 6639294 w 11160780"/>
                <a:gd name="connsiteY9" fmla="*/ 3940989 h 4021957"/>
                <a:gd name="connsiteX10" fmla="*/ 5663720 w 11160780"/>
                <a:gd name="connsiteY10" fmla="*/ 3940989 h 4021957"/>
                <a:gd name="connsiteX11" fmla="*/ 5663720 w 11160780"/>
                <a:gd name="connsiteY11" fmla="*/ 3940989 h 4021957"/>
                <a:gd name="connsiteX12" fmla="*/ 0 w 11160780"/>
                <a:gd name="connsiteY12" fmla="*/ 4021957 h 4021957"/>
                <a:gd name="connsiteX13" fmla="*/ 3387381 w 11160780"/>
                <a:gd name="connsiteY13" fmla="*/ 3284158 h 4021957"/>
                <a:gd name="connsiteX14" fmla="*/ 3387382 w 11160780"/>
                <a:gd name="connsiteY14" fmla="*/ 2298911 h 4021957"/>
                <a:gd name="connsiteX15" fmla="*/ 26671 w 11160780"/>
                <a:gd name="connsiteY15" fmla="*/ 0 h 4021957"/>
                <a:gd name="connsiteX0" fmla="*/ 26671 w 11160780"/>
                <a:gd name="connsiteY0" fmla="*/ 0 h 4021957"/>
                <a:gd name="connsiteX1" fmla="*/ 5663720 w 11160780"/>
                <a:gd name="connsiteY1" fmla="*/ 0 h 4021957"/>
                <a:gd name="connsiteX2" fmla="*/ 5663720 w 11160780"/>
                <a:gd name="connsiteY2" fmla="*/ 0 h 4021957"/>
                <a:gd name="connsiteX3" fmla="*/ 6639294 w 11160780"/>
                <a:gd name="connsiteY3" fmla="*/ 0 h 4021957"/>
                <a:gd name="connsiteX4" fmla="*/ 7289677 w 11160780"/>
                <a:gd name="connsiteY4" fmla="*/ 0 h 4021957"/>
                <a:gd name="connsiteX5" fmla="*/ 7289677 w 11160780"/>
                <a:gd name="connsiteY5" fmla="*/ 2821424 h 4021957"/>
                <a:gd name="connsiteX6" fmla="*/ 11160780 w 11160780"/>
                <a:gd name="connsiteY6" fmla="*/ 3481484 h 4021957"/>
                <a:gd name="connsiteX7" fmla="*/ 7289677 w 11160780"/>
                <a:gd name="connsiteY7" fmla="*/ 3284158 h 4021957"/>
                <a:gd name="connsiteX8" fmla="*/ 7289677 w 11160780"/>
                <a:gd name="connsiteY8" fmla="*/ 3940989 h 4021957"/>
                <a:gd name="connsiteX9" fmla="*/ 6639294 w 11160780"/>
                <a:gd name="connsiteY9" fmla="*/ 3940989 h 4021957"/>
                <a:gd name="connsiteX10" fmla="*/ 5663720 w 11160780"/>
                <a:gd name="connsiteY10" fmla="*/ 3940989 h 4021957"/>
                <a:gd name="connsiteX11" fmla="*/ 5663720 w 11160780"/>
                <a:gd name="connsiteY11" fmla="*/ 3940989 h 4021957"/>
                <a:gd name="connsiteX12" fmla="*/ 0 w 11160780"/>
                <a:gd name="connsiteY12" fmla="*/ 4021957 h 4021957"/>
                <a:gd name="connsiteX13" fmla="*/ 3387381 w 11160780"/>
                <a:gd name="connsiteY13" fmla="*/ 3284158 h 4021957"/>
                <a:gd name="connsiteX14" fmla="*/ 3387382 w 11160780"/>
                <a:gd name="connsiteY14" fmla="*/ 2298911 h 4021957"/>
                <a:gd name="connsiteX15" fmla="*/ 26671 w 11160780"/>
                <a:gd name="connsiteY15" fmla="*/ 0 h 4021957"/>
                <a:gd name="connsiteX0" fmla="*/ 26671 w 11160780"/>
                <a:gd name="connsiteY0" fmla="*/ 0 h 4021957"/>
                <a:gd name="connsiteX1" fmla="*/ 5663720 w 11160780"/>
                <a:gd name="connsiteY1" fmla="*/ 0 h 4021957"/>
                <a:gd name="connsiteX2" fmla="*/ 5663720 w 11160780"/>
                <a:gd name="connsiteY2" fmla="*/ 0 h 4021957"/>
                <a:gd name="connsiteX3" fmla="*/ 6639294 w 11160780"/>
                <a:gd name="connsiteY3" fmla="*/ 0 h 4021957"/>
                <a:gd name="connsiteX4" fmla="*/ 7289677 w 11160780"/>
                <a:gd name="connsiteY4" fmla="*/ 0 h 4021957"/>
                <a:gd name="connsiteX5" fmla="*/ 7289677 w 11160780"/>
                <a:gd name="connsiteY5" fmla="*/ 2821424 h 4021957"/>
                <a:gd name="connsiteX6" fmla="*/ 11160780 w 11160780"/>
                <a:gd name="connsiteY6" fmla="*/ 3481484 h 4021957"/>
                <a:gd name="connsiteX7" fmla="*/ 7289677 w 11160780"/>
                <a:gd name="connsiteY7" fmla="*/ 3284158 h 4021957"/>
                <a:gd name="connsiteX8" fmla="*/ 7289677 w 11160780"/>
                <a:gd name="connsiteY8" fmla="*/ 3940989 h 4021957"/>
                <a:gd name="connsiteX9" fmla="*/ 6639294 w 11160780"/>
                <a:gd name="connsiteY9" fmla="*/ 3940989 h 4021957"/>
                <a:gd name="connsiteX10" fmla="*/ 5663720 w 11160780"/>
                <a:gd name="connsiteY10" fmla="*/ 3940989 h 4021957"/>
                <a:gd name="connsiteX11" fmla="*/ 5663720 w 11160780"/>
                <a:gd name="connsiteY11" fmla="*/ 3940989 h 4021957"/>
                <a:gd name="connsiteX12" fmla="*/ 0 w 11160780"/>
                <a:gd name="connsiteY12" fmla="*/ 4021957 h 4021957"/>
                <a:gd name="connsiteX13" fmla="*/ 3387381 w 11160780"/>
                <a:gd name="connsiteY13" fmla="*/ 3284158 h 4021957"/>
                <a:gd name="connsiteX14" fmla="*/ 3387382 w 11160780"/>
                <a:gd name="connsiteY14" fmla="*/ 2298911 h 4021957"/>
                <a:gd name="connsiteX15" fmla="*/ 26671 w 11160780"/>
                <a:gd name="connsiteY15" fmla="*/ 0 h 4021957"/>
                <a:gd name="connsiteX0" fmla="*/ 26671 w 11160780"/>
                <a:gd name="connsiteY0" fmla="*/ 0 h 4021957"/>
                <a:gd name="connsiteX1" fmla="*/ 5663720 w 11160780"/>
                <a:gd name="connsiteY1" fmla="*/ 0 h 4021957"/>
                <a:gd name="connsiteX2" fmla="*/ 5663720 w 11160780"/>
                <a:gd name="connsiteY2" fmla="*/ 0 h 4021957"/>
                <a:gd name="connsiteX3" fmla="*/ 6639294 w 11160780"/>
                <a:gd name="connsiteY3" fmla="*/ 0 h 4021957"/>
                <a:gd name="connsiteX4" fmla="*/ 7289677 w 11160780"/>
                <a:gd name="connsiteY4" fmla="*/ 0 h 4021957"/>
                <a:gd name="connsiteX5" fmla="*/ 7289677 w 11160780"/>
                <a:gd name="connsiteY5" fmla="*/ 2821424 h 4021957"/>
                <a:gd name="connsiteX6" fmla="*/ 11160780 w 11160780"/>
                <a:gd name="connsiteY6" fmla="*/ 3481484 h 4021957"/>
                <a:gd name="connsiteX7" fmla="*/ 7289677 w 11160780"/>
                <a:gd name="connsiteY7" fmla="*/ 3284158 h 4021957"/>
                <a:gd name="connsiteX8" fmla="*/ 7289677 w 11160780"/>
                <a:gd name="connsiteY8" fmla="*/ 3940989 h 4021957"/>
                <a:gd name="connsiteX9" fmla="*/ 6639294 w 11160780"/>
                <a:gd name="connsiteY9" fmla="*/ 3940989 h 4021957"/>
                <a:gd name="connsiteX10" fmla="*/ 5663720 w 11160780"/>
                <a:gd name="connsiteY10" fmla="*/ 3940989 h 4021957"/>
                <a:gd name="connsiteX11" fmla="*/ 5663720 w 11160780"/>
                <a:gd name="connsiteY11" fmla="*/ 3940989 h 4021957"/>
                <a:gd name="connsiteX12" fmla="*/ 0 w 11160780"/>
                <a:gd name="connsiteY12" fmla="*/ 4021957 h 4021957"/>
                <a:gd name="connsiteX13" fmla="*/ 3387381 w 11160780"/>
                <a:gd name="connsiteY13" fmla="*/ 3284158 h 4021957"/>
                <a:gd name="connsiteX14" fmla="*/ 3387382 w 11160780"/>
                <a:gd name="connsiteY14" fmla="*/ 2298911 h 4021957"/>
                <a:gd name="connsiteX15" fmla="*/ 26671 w 11160780"/>
                <a:gd name="connsiteY15" fmla="*/ 0 h 4021957"/>
                <a:gd name="connsiteX0" fmla="*/ 26671 w 11160780"/>
                <a:gd name="connsiteY0" fmla="*/ 0 h 4021957"/>
                <a:gd name="connsiteX1" fmla="*/ 5663720 w 11160780"/>
                <a:gd name="connsiteY1" fmla="*/ 0 h 4021957"/>
                <a:gd name="connsiteX2" fmla="*/ 5663720 w 11160780"/>
                <a:gd name="connsiteY2" fmla="*/ 0 h 4021957"/>
                <a:gd name="connsiteX3" fmla="*/ 6639294 w 11160780"/>
                <a:gd name="connsiteY3" fmla="*/ 0 h 4021957"/>
                <a:gd name="connsiteX4" fmla="*/ 7289677 w 11160780"/>
                <a:gd name="connsiteY4" fmla="*/ 0 h 4021957"/>
                <a:gd name="connsiteX5" fmla="*/ 7289677 w 11160780"/>
                <a:gd name="connsiteY5" fmla="*/ 2821424 h 4021957"/>
                <a:gd name="connsiteX6" fmla="*/ 11160780 w 11160780"/>
                <a:gd name="connsiteY6" fmla="*/ 3481484 h 4021957"/>
                <a:gd name="connsiteX7" fmla="*/ 7289677 w 11160780"/>
                <a:gd name="connsiteY7" fmla="*/ 3284158 h 4021957"/>
                <a:gd name="connsiteX8" fmla="*/ 7289677 w 11160780"/>
                <a:gd name="connsiteY8" fmla="*/ 3940989 h 4021957"/>
                <a:gd name="connsiteX9" fmla="*/ 6639294 w 11160780"/>
                <a:gd name="connsiteY9" fmla="*/ 3940989 h 4021957"/>
                <a:gd name="connsiteX10" fmla="*/ 5663720 w 11160780"/>
                <a:gd name="connsiteY10" fmla="*/ 3940989 h 4021957"/>
                <a:gd name="connsiteX11" fmla="*/ 5663720 w 11160780"/>
                <a:gd name="connsiteY11" fmla="*/ 3940989 h 4021957"/>
                <a:gd name="connsiteX12" fmla="*/ 0 w 11160780"/>
                <a:gd name="connsiteY12" fmla="*/ 4021957 h 4021957"/>
                <a:gd name="connsiteX13" fmla="*/ 3387381 w 11160780"/>
                <a:gd name="connsiteY13" fmla="*/ 3284158 h 4021957"/>
                <a:gd name="connsiteX14" fmla="*/ 3387382 w 11160780"/>
                <a:gd name="connsiteY14" fmla="*/ 2298911 h 4021957"/>
                <a:gd name="connsiteX15" fmla="*/ 26671 w 11160780"/>
                <a:gd name="connsiteY15" fmla="*/ 0 h 4021957"/>
                <a:gd name="connsiteX0" fmla="*/ 26671 w 11160780"/>
                <a:gd name="connsiteY0" fmla="*/ 0 h 4021957"/>
                <a:gd name="connsiteX1" fmla="*/ 5663720 w 11160780"/>
                <a:gd name="connsiteY1" fmla="*/ 0 h 4021957"/>
                <a:gd name="connsiteX2" fmla="*/ 5663720 w 11160780"/>
                <a:gd name="connsiteY2" fmla="*/ 0 h 4021957"/>
                <a:gd name="connsiteX3" fmla="*/ 6639294 w 11160780"/>
                <a:gd name="connsiteY3" fmla="*/ 0 h 4021957"/>
                <a:gd name="connsiteX4" fmla="*/ 7289677 w 11160780"/>
                <a:gd name="connsiteY4" fmla="*/ 0 h 4021957"/>
                <a:gd name="connsiteX5" fmla="*/ 7289677 w 11160780"/>
                <a:gd name="connsiteY5" fmla="*/ 2821424 h 4021957"/>
                <a:gd name="connsiteX6" fmla="*/ 11160780 w 11160780"/>
                <a:gd name="connsiteY6" fmla="*/ 3481484 h 4021957"/>
                <a:gd name="connsiteX7" fmla="*/ 7289677 w 11160780"/>
                <a:gd name="connsiteY7" fmla="*/ 3284158 h 4021957"/>
                <a:gd name="connsiteX8" fmla="*/ 7289677 w 11160780"/>
                <a:gd name="connsiteY8" fmla="*/ 3940989 h 4021957"/>
                <a:gd name="connsiteX9" fmla="*/ 6639294 w 11160780"/>
                <a:gd name="connsiteY9" fmla="*/ 3940989 h 4021957"/>
                <a:gd name="connsiteX10" fmla="*/ 5663720 w 11160780"/>
                <a:gd name="connsiteY10" fmla="*/ 3940989 h 4021957"/>
                <a:gd name="connsiteX11" fmla="*/ 5663720 w 11160780"/>
                <a:gd name="connsiteY11" fmla="*/ 3940989 h 4021957"/>
                <a:gd name="connsiteX12" fmla="*/ 0 w 11160780"/>
                <a:gd name="connsiteY12" fmla="*/ 4021957 h 4021957"/>
                <a:gd name="connsiteX13" fmla="*/ 3387381 w 11160780"/>
                <a:gd name="connsiteY13" fmla="*/ 3284158 h 4021957"/>
                <a:gd name="connsiteX14" fmla="*/ 3387382 w 11160780"/>
                <a:gd name="connsiteY14" fmla="*/ 2298911 h 4021957"/>
                <a:gd name="connsiteX15" fmla="*/ 26671 w 11160780"/>
                <a:gd name="connsiteY15" fmla="*/ 0 h 4021957"/>
                <a:gd name="connsiteX0" fmla="*/ 26671 w 11160780"/>
                <a:gd name="connsiteY0" fmla="*/ 0 h 4021957"/>
                <a:gd name="connsiteX1" fmla="*/ 5663720 w 11160780"/>
                <a:gd name="connsiteY1" fmla="*/ 0 h 4021957"/>
                <a:gd name="connsiteX2" fmla="*/ 5663720 w 11160780"/>
                <a:gd name="connsiteY2" fmla="*/ 0 h 4021957"/>
                <a:gd name="connsiteX3" fmla="*/ 6639294 w 11160780"/>
                <a:gd name="connsiteY3" fmla="*/ 0 h 4021957"/>
                <a:gd name="connsiteX4" fmla="*/ 7289677 w 11160780"/>
                <a:gd name="connsiteY4" fmla="*/ 0 h 4021957"/>
                <a:gd name="connsiteX5" fmla="*/ 7289677 w 11160780"/>
                <a:gd name="connsiteY5" fmla="*/ 2821424 h 4021957"/>
                <a:gd name="connsiteX6" fmla="*/ 11160780 w 11160780"/>
                <a:gd name="connsiteY6" fmla="*/ 3481484 h 4021957"/>
                <a:gd name="connsiteX7" fmla="*/ 7289677 w 11160780"/>
                <a:gd name="connsiteY7" fmla="*/ 3284158 h 4021957"/>
                <a:gd name="connsiteX8" fmla="*/ 7289677 w 11160780"/>
                <a:gd name="connsiteY8" fmla="*/ 3940989 h 4021957"/>
                <a:gd name="connsiteX9" fmla="*/ 6639294 w 11160780"/>
                <a:gd name="connsiteY9" fmla="*/ 3940989 h 4021957"/>
                <a:gd name="connsiteX10" fmla="*/ 5663720 w 11160780"/>
                <a:gd name="connsiteY10" fmla="*/ 3940989 h 4021957"/>
                <a:gd name="connsiteX11" fmla="*/ 5663720 w 11160780"/>
                <a:gd name="connsiteY11" fmla="*/ 3940989 h 4021957"/>
                <a:gd name="connsiteX12" fmla="*/ 0 w 11160780"/>
                <a:gd name="connsiteY12" fmla="*/ 4021957 h 4021957"/>
                <a:gd name="connsiteX13" fmla="*/ 3387382 w 11160780"/>
                <a:gd name="connsiteY13" fmla="*/ 3284158 h 4021957"/>
                <a:gd name="connsiteX14" fmla="*/ 3387382 w 11160780"/>
                <a:gd name="connsiteY14" fmla="*/ 2298911 h 4021957"/>
                <a:gd name="connsiteX15" fmla="*/ 26671 w 11160780"/>
                <a:gd name="connsiteY15" fmla="*/ 0 h 4021957"/>
                <a:gd name="connsiteX0" fmla="*/ 26671 w 11160780"/>
                <a:gd name="connsiteY0" fmla="*/ 0 h 4021957"/>
                <a:gd name="connsiteX1" fmla="*/ 5663720 w 11160780"/>
                <a:gd name="connsiteY1" fmla="*/ 0 h 4021957"/>
                <a:gd name="connsiteX2" fmla="*/ 5663720 w 11160780"/>
                <a:gd name="connsiteY2" fmla="*/ 0 h 4021957"/>
                <a:gd name="connsiteX3" fmla="*/ 6639294 w 11160780"/>
                <a:gd name="connsiteY3" fmla="*/ 0 h 4021957"/>
                <a:gd name="connsiteX4" fmla="*/ 7289677 w 11160780"/>
                <a:gd name="connsiteY4" fmla="*/ 0 h 4021957"/>
                <a:gd name="connsiteX5" fmla="*/ 7289677 w 11160780"/>
                <a:gd name="connsiteY5" fmla="*/ 2821424 h 4021957"/>
                <a:gd name="connsiteX6" fmla="*/ 11160780 w 11160780"/>
                <a:gd name="connsiteY6" fmla="*/ 3481484 h 4021957"/>
                <a:gd name="connsiteX7" fmla="*/ 7289677 w 11160780"/>
                <a:gd name="connsiteY7" fmla="*/ 3284158 h 4021957"/>
                <a:gd name="connsiteX8" fmla="*/ 7289677 w 11160780"/>
                <a:gd name="connsiteY8" fmla="*/ 3940989 h 4021957"/>
                <a:gd name="connsiteX9" fmla="*/ 6639294 w 11160780"/>
                <a:gd name="connsiteY9" fmla="*/ 3940989 h 4021957"/>
                <a:gd name="connsiteX10" fmla="*/ 5663720 w 11160780"/>
                <a:gd name="connsiteY10" fmla="*/ 3940989 h 4021957"/>
                <a:gd name="connsiteX11" fmla="*/ 5663720 w 11160780"/>
                <a:gd name="connsiteY11" fmla="*/ 3940989 h 4021957"/>
                <a:gd name="connsiteX12" fmla="*/ 0 w 11160780"/>
                <a:gd name="connsiteY12" fmla="*/ 4021957 h 4021957"/>
                <a:gd name="connsiteX13" fmla="*/ 3387382 w 11160780"/>
                <a:gd name="connsiteY13" fmla="*/ 3284158 h 4021957"/>
                <a:gd name="connsiteX14" fmla="*/ 3387382 w 11160780"/>
                <a:gd name="connsiteY14" fmla="*/ 2298911 h 4021957"/>
                <a:gd name="connsiteX15" fmla="*/ 26671 w 11160780"/>
                <a:gd name="connsiteY15" fmla="*/ 0 h 4021957"/>
                <a:gd name="connsiteX0" fmla="*/ 26671 w 11160780"/>
                <a:gd name="connsiteY0" fmla="*/ 0 h 4021957"/>
                <a:gd name="connsiteX1" fmla="*/ 5663720 w 11160780"/>
                <a:gd name="connsiteY1" fmla="*/ 0 h 4021957"/>
                <a:gd name="connsiteX2" fmla="*/ 5663720 w 11160780"/>
                <a:gd name="connsiteY2" fmla="*/ 0 h 4021957"/>
                <a:gd name="connsiteX3" fmla="*/ 6639294 w 11160780"/>
                <a:gd name="connsiteY3" fmla="*/ 0 h 4021957"/>
                <a:gd name="connsiteX4" fmla="*/ 7289677 w 11160780"/>
                <a:gd name="connsiteY4" fmla="*/ 0 h 4021957"/>
                <a:gd name="connsiteX5" fmla="*/ 7289677 w 11160780"/>
                <a:gd name="connsiteY5" fmla="*/ 2821424 h 4021957"/>
                <a:gd name="connsiteX6" fmla="*/ 11160780 w 11160780"/>
                <a:gd name="connsiteY6" fmla="*/ 3481484 h 4021957"/>
                <a:gd name="connsiteX7" fmla="*/ 7289677 w 11160780"/>
                <a:gd name="connsiteY7" fmla="*/ 3284158 h 4021957"/>
                <a:gd name="connsiteX8" fmla="*/ 7289677 w 11160780"/>
                <a:gd name="connsiteY8" fmla="*/ 3940989 h 4021957"/>
                <a:gd name="connsiteX9" fmla="*/ 6639294 w 11160780"/>
                <a:gd name="connsiteY9" fmla="*/ 3940989 h 4021957"/>
                <a:gd name="connsiteX10" fmla="*/ 5663720 w 11160780"/>
                <a:gd name="connsiteY10" fmla="*/ 3940989 h 4021957"/>
                <a:gd name="connsiteX11" fmla="*/ 5663720 w 11160780"/>
                <a:gd name="connsiteY11" fmla="*/ 3940989 h 4021957"/>
                <a:gd name="connsiteX12" fmla="*/ 0 w 11160780"/>
                <a:gd name="connsiteY12" fmla="*/ 4021957 h 4021957"/>
                <a:gd name="connsiteX13" fmla="*/ 3387382 w 11160780"/>
                <a:gd name="connsiteY13" fmla="*/ 3284158 h 4021957"/>
                <a:gd name="connsiteX14" fmla="*/ 3387382 w 11160780"/>
                <a:gd name="connsiteY14" fmla="*/ 2298911 h 4021957"/>
                <a:gd name="connsiteX15" fmla="*/ 26671 w 11160780"/>
                <a:gd name="connsiteY15" fmla="*/ 0 h 4021957"/>
                <a:gd name="connsiteX0" fmla="*/ 26671 w 11160780"/>
                <a:gd name="connsiteY0" fmla="*/ 0 h 4021957"/>
                <a:gd name="connsiteX1" fmla="*/ 5663720 w 11160780"/>
                <a:gd name="connsiteY1" fmla="*/ 0 h 4021957"/>
                <a:gd name="connsiteX2" fmla="*/ 5663720 w 11160780"/>
                <a:gd name="connsiteY2" fmla="*/ 0 h 4021957"/>
                <a:gd name="connsiteX3" fmla="*/ 6639294 w 11160780"/>
                <a:gd name="connsiteY3" fmla="*/ 0 h 4021957"/>
                <a:gd name="connsiteX4" fmla="*/ 7289677 w 11160780"/>
                <a:gd name="connsiteY4" fmla="*/ 0 h 4021957"/>
                <a:gd name="connsiteX5" fmla="*/ 7289677 w 11160780"/>
                <a:gd name="connsiteY5" fmla="*/ 2821424 h 4021957"/>
                <a:gd name="connsiteX6" fmla="*/ 11160780 w 11160780"/>
                <a:gd name="connsiteY6" fmla="*/ 3481484 h 4021957"/>
                <a:gd name="connsiteX7" fmla="*/ 7289677 w 11160780"/>
                <a:gd name="connsiteY7" fmla="*/ 3284158 h 4021957"/>
                <a:gd name="connsiteX8" fmla="*/ 7289677 w 11160780"/>
                <a:gd name="connsiteY8" fmla="*/ 3940989 h 4021957"/>
                <a:gd name="connsiteX9" fmla="*/ 6639294 w 11160780"/>
                <a:gd name="connsiteY9" fmla="*/ 3940989 h 4021957"/>
                <a:gd name="connsiteX10" fmla="*/ 5663720 w 11160780"/>
                <a:gd name="connsiteY10" fmla="*/ 3940989 h 4021957"/>
                <a:gd name="connsiteX11" fmla="*/ 5663720 w 11160780"/>
                <a:gd name="connsiteY11" fmla="*/ 3940989 h 4021957"/>
                <a:gd name="connsiteX12" fmla="*/ 0 w 11160780"/>
                <a:gd name="connsiteY12" fmla="*/ 4021957 h 4021957"/>
                <a:gd name="connsiteX13" fmla="*/ 3387382 w 11160780"/>
                <a:gd name="connsiteY13" fmla="*/ 3284158 h 4021957"/>
                <a:gd name="connsiteX14" fmla="*/ 3387382 w 11160780"/>
                <a:gd name="connsiteY14" fmla="*/ 2298911 h 4021957"/>
                <a:gd name="connsiteX15" fmla="*/ 26671 w 11160780"/>
                <a:gd name="connsiteY15" fmla="*/ 0 h 4021957"/>
                <a:gd name="connsiteX0" fmla="*/ 26671 w 11160780"/>
                <a:gd name="connsiteY0" fmla="*/ 0 h 4021957"/>
                <a:gd name="connsiteX1" fmla="*/ 5663720 w 11160780"/>
                <a:gd name="connsiteY1" fmla="*/ 0 h 4021957"/>
                <a:gd name="connsiteX2" fmla="*/ 5663720 w 11160780"/>
                <a:gd name="connsiteY2" fmla="*/ 0 h 4021957"/>
                <a:gd name="connsiteX3" fmla="*/ 6639294 w 11160780"/>
                <a:gd name="connsiteY3" fmla="*/ 0 h 4021957"/>
                <a:gd name="connsiteX4" fmla="*/ 7289677 w 11160780"/>
                <a:gd name="connsiteY4" fmla="*/ 0 h 4021957"/>
                <a:gd name="connsiteX5" fmla="*/ 7289677 w 11160780"/>
                <a:gd name="connsiteY5" fmla="*/ 2821424 h 4021957"/>
                <a:gd name="connsiteX6" fmla="*/ 11160780 w 11160780"/>
                <a:gd name="connsiteY6" fmla="*/ 3481484 h 4021957"/>
                <a:gd name="connsiteX7" fmla="*/ 7289677 w 11160780"/>
                <a:gd name="connsiteY7" fmla="*/ 3284158 h 4021957"/>
                <a:gd name="connsiteX8" fmla="*/ 7289677 w 11160780"/>
                <a:gd name="connsiteY8" fmla="*/ 3940989 h 4021957"/>
                <a:gd name="connsiteX9" fmla="*/ 6639294 w 11160780"/>
                <a:gd name="connsiteY9" fmla="*/ 3940989 h 4021957"/>
                <a:gd name="connsiteX10" fmla="*/ 5663720 w 11160780"/>
                <a:gd name="connsiteY10" fmla="*/ 3940989 h 4021957"/>
                <a:gd name="connsiteX11" fmla="*/ 5663720 w 11160780"/>
                <a:gd name="connsiteY11" fmla="*/ 3940989 h 4021957"/>
                <a:gd name="connsiteX12" fmla="*/ 0 w 11160780"/>
                <a:gd name="connsiteY12" fmla="*/ 4021957 h 4021957"/>
                <a:gd name="connsiteX13" fmla="*/ 3387382 w 11160780"/>
                <a:gd name="connsiteY13" fmla="*/ 3284158 h 4021957"/>
                <a:gd name="connsiteX14" fmla="*/ 3387382 w 11160780"/>
                <a:gd name="connsiteY14" fmla="*/ 2298911 h 4021957"/>
                <a:gd name="connsiteX15" fmla="*/ 26671 w 11160780"/>
                <a:gd name="connsiteY15" fmla="*/ 0 h 4021957"/>
                <a:gd name="connsiteX0" fmla="*/ 26671 w 11160780"/>
                <a:gd name="connsiteY0" fmla="*/ 0 h 4021957"/>
                <a:gd name="connsiteX1" fmla="*/ 5663720 w 11160780"/>
                <a:gd name="connsiteY1" fmla="*/ 0 h 4021957"/>
                <a:gd name="connsiteX2" fmla="*/ 5663720 w 11160780"/>
                <a:gd name="connsiteY2" fmla="*/ 0 h 4021957"/>
                <a:gd name="connsiteX3" fmla="*/ 6639294 w 11160780"/>
                <a:gd name="connsiteY3" fmla="*/ 0 h 4021957"/>
                <a:gd name="connsiteX4" fmla="*/ 7289677 w 11160780"/>
                <a:gd name="connsiteY4" fmla="*/ 0 h 4021957"/>
                <a:gd name="connsiteX5" fmla="*/ 7289677 w 11160780"/>
                <a:gd name="connsiteY5" fmla="*/ 2821424 h 4021957"/>
                <a:gd name="connsiteX6" fmla="*/ 11160780 w 11160780"/>
                <a:gd name="connsiteY6" fmla="*/ 3481484 h 4021957"/>
                <a:gd name="connsiteX7" fmla="*/ 7289677 w 11160780"/>
                <a:gd name="connsiteY7" fmla="*/ 3284158 h 4021957"/>
                <a:gd name="connsiteX8" fmla="*/ 7289677 w 11160780"/>
                <a:gd name="connsiteY8" fmla="*/ 3940989 h 4021957"/>
                <a:gd name="connsiteX9" fmla="*/ 6639294 w 11160780"/>
                <a:gd name="connsiteY9" fmla="*/ 3940989 h 4021957"/>
                <a:gd name="connsiteX10" fmla="*/ 5663720 w 11160780"/>
                <a:gd name="connsiteY10" fmla="*/ 3940989 h 4021957"/>
                <a:gd name="connsiteX11" fmla="*/ 5663720 w 11160780"/>
                <a:gd name="connsiteY11" fmla="*/ 3940989 h 4021957"/>
                <a:gd name="connsiteX12" fmla="*/ 0 w 11160780"/>
                <a:gd name="connsiteY12" fmla="*/ 4021957 h 4021957"/>
                <a:gd name="connsiteX13" fmla="*/ 3387382 w 11160780"/>
                <a:gd name="connsiteY13" fmla="*/ 3284158 h 4021957"/>
                <a:gd name="connsiteX14" fmla="*/ 53345 w 11160780"/>
                <a:gd name="connsiteY14" fmla="*/ 2487833 h 4021957"/>
                <a:gd name="connsiteX15" fmla="*/ 26671 w 11160780"/>
                <a:gd name="connsiteY15" fmla="*/ 0 h 4021957"/>
                <a:gd name="connsiteX0" fmla="*/ 26671 w 11160780"/>
                <a:gd name="connsiteY0" fmla="*/ 0 h 4021957"/>
                <a:gd name="connsiteX1" fmla="*/ 5663720 w 11160780"/>
                <a:gd name="connsiteY1" fmla="*/ 0 h 4021957"/>
                <a:gd name="connsiteX2" fmla="*/ 5663720 w 11160780"/>
                <a:gd name="connsiteY2" fmla="*/ 0 h 4021957"/>
                <a:gd name="connsiteX3" fmla="*/ 6639294 w 11160780"/>
                <a:gd name="connsiteY3" fmla="*/ 0 h 4021957"/>
                <a:gd name="connsiteX4" fmla="*/ 7289677 w 11160780"/>
                <a:gd name="connsiteY4" fmla="*/ 0 h 4021957"/>
                <a:gd name="connsiteX5" fmla="*/ 7289677 w 11160780"/>
                <a:gd name="connsiteY5" fmla="*/ 2821424 h 4021957"/>
                <a:gd name="connsiteX6" fmla="*/ 11160780 w 11160780"/>
                <a:gd name="connsiteY6" fmla="*/ 3481484 h 4021957"/>
                <a:gd name="connsiteX7" fmla="*/ 7289677 w 11160780"/>
                <a:gd name="connsiteY7" fmla="*/ 3284158 h 4021957"/>
                <a:gd name="connsiteX8" fmla="*/ 7289677 w 11160780"/>
                <a:gd name="connsiteY8" fmla="*/ 3940989 h 4021957"/>
                <a:gd name="connsiteX9" fmla="*/ 6639294 w 11160780"/>
                <a:gd name="connsiteY9" fmla="*/ 3940989 h 4021957"/>
                <a:gd name="connsiteX10" fmla="*/ 5663720 w 11160780"/>
                <a:gd name="connsiteY10" fmla="*/ 3940989 h 4021957"/>
                <a:gd name="connsiteX11" fmla="*/ 5663720 w 11160780"/>
                <a:gd name="connsiteY11" fmla="*/ 3940989 h 4021957"/>
                <a:gd name="connsiteX12" fmla="*/ 0 w 11160780"/>
                <a:gd name="connsiteY12" fmla="*/ 4021957 h 4021957"/>
                <a:gd name="connsiteX13" fmla="*/ 0 w 11160780"/>
                <a:gd name="connsiteY13" fmla="*/ 3500070 h 4021957"/>
                <a:gd name="connsiteX14" fmla="*/ 53345 w 11160780"/>
                <a:gd name="connsiteY14" fmla="*/ 2487833 h 4021957"/>
                <a:gd name="connsiteX15" fmla="*/ 26671 w 11160780"/>
                <a:gd name="connsiteY15" fmla="*/ 0 h 4021957"/>
                <a:gd name="connsiteX0" fmla="*/ 26671 w 11160780"/>
                <a:gd name="connsiteY0" fmla="*/ 0 h 4021957"/>
                <a:gd name="connsiteX1" fmla="*/ 5663720 w 11160780"/>
                <a:gd name="connsiteY1" fmla="*/ 0 h 4021957"/>
                <a:gd name="connsiteX2" fmla="*/ 5663720 w 11160780"/>
                <a:gd name="connsiteY2" fmla="*/ 0 h 4021957"/>
                <a:gd name="connsiteX3" fmla="*/ 6639294 w 11160780"/>
                <a:gd name="connsiteY3" fmla="*/ 0 h 4021957"/>
                <a:gd name="connsiteX4" fmla="*/ 7289677 w 11160780"/>
                <a:gd name="connsiteY4" fmla="*/ 0 h 4021957"/>
                <a:gd name="connsiteX5" fmla="*/ 7289677 w 11160780"/>
                <a:gd name="connsiteY5" fmla="*/ 2821424 h 4021957"/>
                <a:gd name="connsiteX6" fmla="*/ 11160780 w 11160780"/>
                <a:gd name="connsiteY6" fmla="*/ 3481484 h 4021957"/>
                <a:gd name="connsiteX7" fmla="*/ 7289677 w 11160780"/>
                <a:gd name="connsiteY7" fmla="*/ 3284158 h 4021957"/>
                <a:gd name="connsiteX8" fmla="*/ 7289677 w 11160780"/>
                <a:gd name="connsiteY8" fmla="*/ 3940989 h 4021957"/>
                <a:gd name="connsiteX9" fmla="*/ 6639294 w 11160780"/>
                <a:gd name="connsiteY9" fmla="*/ 3940989 h 4021957"/>
                <a:gd name="connsiteX10" fmla="*/ 5663720 w 11160780"/>
                <a:gd name="connsiteY10" fmla="*/ 3940989 h 4021957"/>
                <a:gd name="connsiteX11" fmla="*/ 5663720 w 11160780"/>
                <a:gd name="connsiteY11" fmla="*/ 3940989 h 4021957"/>
                <a:gd name="connsiteX12" fmla="*/ 0 w 11160780"/>
                <a:gd name="connsiteY12" fmla="*/ 4021957 h 4021957"/>
                <a:gd name="connsiteX13" fmla="*/ 0 w 11160780"/>
                <a:gd name="connsiteY13" fmla="*/ 3500070 h 4021957"/>
                <a:gd name="connsiteX14" fmla="*/ 26671 w 11160780"/>
                <a:gd name="connsiteY14" fmla="*/ 0 h 4021957"/>
                <a:gd name="connsiteX0" fmla="*/ 26671 w 11160780"/>
                <a:gd name="connsiteY0" fmla="*/ 0 h 4021957"/>
                <a:gd name="connsiteX1" fmla="*/ 5663720 w 11160780"/>
                <a:gd name="connsiteY1" fmla="*/ 0 h 4021957"/>
                <a:gd name="connsiteX2" fmla="*/ 5663720 w 11160780"/>
                <a:gd name="connsiteY2" fmla="*/ 0 h 4021957"/>
                <a:gd name="connsiteX3" fmla="*/ 6639294 w 11160780"/>
                <a:gd name="connsiteY3" fmla="*/ 0 h 4021957"/>
                <a:gd name="connsiteX4" fmla="*/ 7289677 w 11160780"/>
                <a:gd name="connsiteY4" fmla="*/ 0 h 4021957"/>
                <a:gd name="connsiteX5" fmla="*/ 7289677 w 11160780"/>
                <a:gd name="connsiteY5" fmla="*/ 2821424 h 4021957"/>
                <a:gd name="connsiteX6" fmla="*/ 11160780 w 11160780"/>
                <a:gd name="connsiteY6" fmla="*/ 3481484 h 4021957"/>
                <a:gd name="connsiteX7" fmla="*/ 7289677 w 11160780"/>
                <a:gd name="connsiteY7" fmla="*/ 3284158 h 4021957"/>
                <a:gd name="connsiteX8" fmla="*/ 7289677 w 11160780"/>
                <a:gd name="connsiteY8" fmla="*/ 3940989 h 4021957"/>
                <a:gd name="connsiteX9" fmla="*/ 6639294 w 11160780"/>
                <a:gd name="connsiteY9" fmla="*/ 3940989 h 4021957"/>
                <a:gd name="connsiteX10" fmla="*/ 5663720 w 11160780"/>
                <a:gd name="connsiteY10" fmla="*/ 3940989 h 4021957"/>
                <a:gd name="connsiteX11" fmla="*/ 5663720 w 11160780"/>
                <a:gd name="connsiteY11" fmla="*/ 3940989 h 4021957"/>
                <a:gd name="connsiteX12" fmla="*/ 0 w 11160780"/>
                <a:gd name="connsiteY12" fmla="*/ 4021957 h 4021957"/>
                <a:gd name="connsiteX13" fmla="*/ 26671 w 11160780"/>
                <a:gd name="connsiteY13" fmla="*/ 0 h 4021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1160780" h="4021957">
                  <a:moveTo>
                    <a:pt x="26671" y="0"/>
                  </a:moveTo>
                  <a:lnTo>
                    <a:pt x="5663720" y="0"/>
                  </a:lnTo>
                  <a:lnTo>
                    <a:pt x="5663720" y="0"/>
                  </a:lnTo>
                  <a:lnTo>
                    <a:pt x="6639294" y="0"/>
                  </a:lnTo>
                  <a:lnTo>
                    <a:pt x="7289677" y="0"/>
                  </a:lnTo>
                  <a:lnTo>
                    <a:pt x="7289677" y="2821424"/>
                  </a:lnTo>
                  <a:lnTo>
                    <a:pt x="11160780" y="3481484"/>
                  </a:lnTo>
                  <a:lnTo>
                    <a:pt x="7289677" y="3284158"/>
                  </a:lnTo>
                  <a:lnTo>
                    <a:pt x="7289677" y="3940989"/>
                  </a:lnTo>
                  <a:lnTo>
                    <a:pt x="6639294" y="3940989"/>
                  </a:lnTo>
                  <a:lnTo>
                    <a:pt x="5663720" y="3940989"/>
                  </a:lnTo>
                  <a:lnTo>
                    <a:pt x="5663720" y="3940989"/>
                  </a:lnTo>
                  <a:lnTo>
                    <a:pt x="0" y="4021957"/>
                  </a:lnTo>
                  <a:lnTo>
                    <a:pt x="26671" y="0"/>
                  </a:lnTo>
                  <a:close/>
                </a:path>
              </a:pathLst>
            </a:custGeom>
            <a:solidFill>
              <a:schemeClr val="accent2">
                <a:alpha val="50000"/>
              </a:schemeClr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wrap="square" rtlCol="0">
              <a:noAutofit/>
            </a:bodyPr>
            <a:lstStyle/>
            <a:p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408994" y="4088243"/>
              <a:ext cx="4984100" cy="370567"/>
            </a:xfrm>
            <a:prstGeom prst="rect">
              <a:avLst/>
            </a:prstGeom>
            <a:noFill/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wrap="square">
              <a:spAutoFit/>
            </a:bodyPr>
            <a:lstStyle/>
            <a:p>
              <a:r>
                <a:rPr lang="en-US" dirty="0"/>
                <a:t>So, here are </a:t>
              </a:r>
              <a:r>
                <a:rPr lang="en-US" dirty="0" smtClean="0"/>
                <a:t>two great </a:t>
              </a:r>
              <a:r>
                <a:rPr lang="en-US" dirty="0"/>
                <a:t>hotels in the area. Most of the directors and producers will be staying at the Empire Hotel. Actors are staying at the Hudson New York. Which one do you prefer? </a:t>
              </a: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1575824" y="6982995"/>
            <a:ext cx="5189918" cy="982237"/>
            <a:chOff x="1575824" y="6982995"/>
            <a:chExt cx="5189918" cy="982237"/>
          </a:xfrm>
        </p:grpSpPr>
        <p:sp>
          <p:nvSpPr>
            <p:cNvPr id="29" name="Rectangular Callout 28"/>
            <p:cNvSpPr/>
            <p:nvPr/>
          </p:nvSpPr>
          <p:spPr>
            <a:xfrm>
              <a:off x="1575824" y="6982995"/>
              <a:ext cx="5096613" cy="982237"/>
            </a:xfrm>
            <a:prstGeom prst="wedgeRectCallout">
              <a:avLst>
                <a:gd name="adj1" fmla="val 80872"/>
                <a:gd name="adj2" fmla="val -77592"/>
              </a:avLst>
            </a:prstGeom>
            <a:solidFill>
              <a:schemeClr val="accent2">
                <a:alpha val="50000"/>
              </a:schemeClr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wrap="square" rtlCol="0">
              <a:noAutofit/>
            </a:bodyPr>
            <a:lstStyle/>
            <a:p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1723223" y="7012999"/>
              <a:ext cx="5042519" cy="892552"/>
            </a:xfrm>
            <a:prstGeom prst="rect">
              <a:avLst/>
            </a:prstGeom>
            <a:noFill/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wrap="square">
              <a:spAutoFit/>
            </a:bodyPr>
            <a:lstStyle/>
            <a:p>
              <a:r>
                <a:rPr lang="en-US" dirty="0" smtClean="0"/>
                <a:t>Ok. I booked one non-smoking room, king bed size for you. 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xmlns="" val="149736385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417633" y="2554017"/>
            <a:ext cx="7233470" cy="3212301"/>
          </a:xfrm>
          <a:custGeom>
            <a:avLst/>
            <a:gdLst>
              <a:gd name="connsiteX0" fmla="*/ 0 w 7233470"/>
              <a:gd name="connsiteY0" fmla="*/ 0 h 1292662"/>
              <a:gd name="connsiteX1" fmla="*/ 7233470 w 7233470"/>
              <a:gd name="connsiteY1" fmla="*/ 0 h 1292662"/>
              <a:gd name="connsiteX2" fmla="*/ 7233470 w 7233470"/>
              <a:gd name="connsiteY2" fmla="*/ 1292662 h 1292662"/>
              <a:gd name="connsiteX3" fmla="*/ 0 w 7233470"/>
              <a:gd name="connsiteY3" fmla="*/ 1292662 h 1292662"/>
              <a:gd name="connsiteX4" fmla="*/ 0 w 7233470"/>
              <a:gd name="connsiteY4" fmla="*/ 0 h 1292662"/>
              <a:gd name="connsiteX0" fmla="*/ 0 w 7233470"/>
              <a:gd name="connsiteY0" fmla="*/ 0 h 1292662"/>
              <a:gd name="connsiteX1" fmla="*/ 7233470 w 7233470"/>
              <a:gd name="connsiteY1" fmla="*/ 0 h 1292662"/>
              <a:gd name="connsiteX2" fmla="*/ 7233470 w 7233470"/>
              <a:gd name="connsiteY2" fmla="*/ 1292662 h 1292662"/>
              <a:gd name="connsiteX3" fmla="*/ 6580326 w 7233470"/>
              <a:gd name="connsiteY3" fmla="*/ 1271534 h 1292662"/>
              <a:gd name="connsiteX4" fmla="*/ 0 w 7233470"/>
              <a:gd name="connsiteY4" fmla="*/ 1292662 h 1292662"/>
              <a:gd name="connsiteX5" fmla="*/ 0 w 7233470"/>
              <a:gd name="connsiteY5" fmla="*/ 0 h 1292662"/>
              <a:gd name="connsiteX0" fmla="*/ 0 w 7233470"/>
              <a:gd name="connsiteY0" fmla="*/ 0 h 1292662"/>
              <a:gd name="connsiteX1" fmla="*/ 7233470 w 7233470"/>
              <a:gd name="connsiteY1" fmla="*/ 0 h 1292662"/>
              <a:gd name="connsiteX2" fmla="*/ 7233470 w 7233470"/>
              <a:gd name="connsiteY2" fmla="*/ 1292662 h 1292662"/>
              <a:gd name="connsiteX3" fmla="*/ 6580326 w 7233470"/>
              <a:gd name="connsiteY3" fmla="*/ 1271534 h 1292662"/>
              <a:gd name="connsiteX4" fmla="*/ 5889861 w 7233470"/>
              <a:gd name="connsiteY4" fmla="*/ 1271534 h 1292662"/>
              <a:gd name="connsiteX5" fmla="*/ 0 w 7233470"/>
              <a:gd name="connsiteY5" fmla="*/ 1292662 h 1292662"/>
              <a:gd name="connsiteX6" fmla="*/ 0 w 7233470"/>
              <a:gd name="connsiteY6" fmla="*/ 0 h 1292662"/>
              <a:gd name="connsiteX0" fmla="*/ 0 w 7233470"/>
              <a:gd name="connsiteY0" fmla="*/ 0 h 1292662"/>
              <a:gd name="connsiteX1" fmla="*/ 7233470 w 7233470"/>
              <a:gd name="connsiteY1" fmla="*/ 0 h 1292662"/>
              <a:gd name="connsiteX2" fmla="*/ 7233470 w 7233470"/>
              <a:gd name="connsiteY2" fmla="*/ 1292662 h 1292662"/>
              <a:gd name="connsiteX3" fmla="*/ 6580326 w 7233470"/>
              <a:gd name="connsiteY3" fmla="*/ 1271534 h 1292662"/>
              <a:gd name="connsiteX4" fmla="*/ 5889861 w 7233470"/>
              <a:gd name="connsiteY4" fmla="*/ 1271534 h 1292662"/>
              <a:gd name="connsiteX5" fmla="*/ 0 w 7233470"/>
              <a:gd name="connsiteY5" fmla="*/ 1292662 h 1292662"/>
              <a:gd name="connsiteX6" fmla="*/ 0 w 7233470"/>
              <a:gd name="connsiteY6" fmla="*/ 0 h 1292662"/>
              <a:gd name="connsiteX0" fmla="*/ 0 w 7233470"/>
              <a:gd name="connsiteY0" fmla="*/ 0 h 1292662"/>
              <a:gd name="connsiteX1" fmla="*/ 7233470 w 7233470"/>
              <a:gd name="connsiteY1" fmla="*/ 0 h 1292662"/>
              <a:gd name="connsiteX2" fmla="*/ 7233470 w 7233470"/>
              <a:gd name="connsiteY2" fmla="*/ 1292662 h 1292662"/>
              <a:gd name="connsiteX3" fmla="*/ 6580326 w 7233470"/>
              <a:gd name="connsiteY3" fmla="*/ 1271534 h 1292662"/>
              <a:gd name="connsiteX4" fmla="*/ 5889861 w 7233470"/>
              <a:gd name="connsiteY4" fmla="*/ 1271534 h 1292662"/>
              <a:gd name="connsiteX5" fmla="*/ 0 w 7233470"/>
              <a:gd name="connsiteY5" fmla="*/ 1292662 h 1292662"/>
              <a:gd name="connsiteX6" fmla="*/ 0 w 7233470"/>
              <a:gd name="connsiteY6" fmla="*/ 0 h 1292662"/>
              <a:gd name="connsiteX0" fmla="*/ 0 w 7233470"/>
              <a:gd name="connsiteY0" fmla="*/ 0 h 1292662"/>
              <a:gd name="connsiteX1" fmla="*/ 7233470 w 7233470"/>
              <a:gd name="connsiteY1" fmla="*/ 0 h 1292662"/>
              <a:gd name="connsiteX2" fmla="*/ 7233470 w 7233470"/>
              <a:gd name="connsiteY2" fmla="*/ 1292662 h 1292662"/>
              <a:gd name="connsiteX3" fmla="*/ 6580326 w 7233470"/>
              <a:gd name="connsiteY3" fmla="*/ 1271534 h 1292662"/>
              <a:gd name="connsiteX4" fmla="*/ 5889861 w 7233470"/>
              <a:gd name="connsiteY4" fmla="*/ 1271534 h 1292662"/>
              <a:gd name="connsiteX5" fmla="*/ 5889861 w 7233470"/>
              <a:gd name="connsiteY5" fmla="*/ 1271534 h 1292662"/>
              <a:gd name="connsiteX6" fmla="*/ 0 w 7233470"/>
              <a:gd name="connsiteY6" fmla="*/ 1292662 h 1292662"/>
              <a:gd name="connsiteX7" fmla="*/ 0 w 7233470"/>
              <a:gd name="connsiteY7" fmla="*/ 0 h 1292662"/>
              <a:gd name="connsiteX0" fmla="*/ 0 w 7233470"/>
              <a:gd name="connsiteY0" fmla="*/ 0 h 1292662"/>
              <a:gd name="connsiteX1" fmla="*/ 7233470 w 7233470"/>
              <a:gd name="connsiteY1" fmla="*/ 0 h 1292662"/>
              <a:gd name="connsiteX2" fmla="*/ 7233470 w 7233470"/>
              <a:gd name="connsiteY2" fmla="*/ 1292662 h 1292662"/>
              <a:gd name="connsiteX3" fmla="*/ 6580326 w 7233470"/>
              <a:gd name="connsiteY3" fmla="*/ 1271534 h 1292662"/>
              <a:gd name="connsiteX4" fmla="*/ 6225763 w 7233470"/>
              <a:gd name="connsiteY4" fmla="*/ 1252873 h 1292662"/>
              <a:gd name="connsiteX5" fmla="*/ 5889861 w 7233470"/>
              <a:gd name="connsiteY5" fmla="*/ 1271534 h 1292662"/>
              <a:gd name="connsiteX6" fmla="*/ 5889861 w 7233470"/>
              <a:gd name="connsiteY6" fmla="*/ 1271534 h 1292662"/>
              <a:gd name="connsiteX7" fmla="*/ 0 w 7233470"/>
              <a:gd name="connsiteY7" fmla="*/ 1292662 h 1292662"/>
              <a:gd name="connsiteX8" fmla="*/ 0 w 7233470"/>
              <a:gd name="connsiteY8" fmla="*/ 0 h 1292662"/>
              <a:gd name="connsiteX0" fmla="*/ 0 w 7233470"/>
              <a:gd name="connsiteY0" fmla="*/ 0 h 1292662"/>
              <a:gd name="connsiteX1" fmla="*/ 7233470 w 7233470"/>
              <a:gd name="connsiteY1" fmla="*/ 0 h 1292662"/>
              <a:gd name="connsiteX2" fmla="*/ 7233470 w 7233470"/>
              <a:gd name="connsiteY2" fmla="*/ 1292662 h 1292662"/>
              <a:gd name="connsiteX3" fmla="*/ 6580326 w 7233470"/>
              <a:gd name="connsiteY3" fmla="*/ 1271534 h 1292662"/>
              <a:gd name="connsiteX4" fmla="*/ 6225763 w 7233470"/>
              <a:gd name="connsiteY4" fmla="*/ 1252873 h 1292662"/>
              <a:gd name="connsiteX5" fmla="*/ 6225763 w 7233470"/>
              <a:gd name="connsiteY5" fmla="*/ 1252873 h 1292662"/>
              <a:gd name="connsiteX6" fmla="*/ 5889861 w 7233470"/>
              <a:gd name="connsiteY6" fmla="*/ 1271534 h 1292662"/>
              <a:gd name="connsiteX7" fmla="*/ 5889861 w 7233470"/>
              <a:gd name="connsiteY7" fmla="*/ 1271534 h 1292662"/>
              <a:gd name="connsiteX8" fmla="*/ 0 w 7233470"/>
              <a:gd name="connsiteY8" fmla="*/ 1292662 h 1292662"/>
              <a:gd name="connsiteX9" fmla="*/ 0 w 7233470"/>
              <a:gd name="connsiteY9" fmla="*/ 0 h 1292662"/>
              <a:gd name="connsiteX0" fmla="*/ 0 w 7233470"/>
              <a:gd name="connsiteY0" fmla="*/ 0 h 3212301"/>
              <a:gd name="connsiteX1" fmla="*/ 7233470 w 7233470"/>
              <a:gd name="connsiteY1" fmla="*/ 0 h 3212301"/>
              <a:gd name="connsiteX2" fmla="*/ 7233470 w 7233470"/>
              <a:gd name="connsiteY2" fmla="*/ 1292662 h 3212301"/>
              <a:gd name="connsiteX3" fmla="*/ 6580326 w 7233470"/>
              <a:gd name="connsiteY3" fmla="*/ 1271534 h 3212301"/>
              <a:gd name="connsiteX4" fmla="*/ 6225763 w 7233470"/>
              <a:gd name="connsiteY4" fmla="*/ 1252873 h 3212301"/>
              <a:gd name="connsiteX5" fmla="*/ 7046857 w 7233470"/>
              <a:gd name="connsiteY5" fmla="*/ 3212301 h 3212301"/>
              <a:gd name="connsiteX6" fmla="*/ 5889861 w 7233470"/>
              <a:gd name="connsiteY6" fmla="*/ 1271534 h 3212301"/>
              <a:gd name="connsiteX7" fmla="*/ 5889861 w 7233470"/>
              <a:gd name="connsiteY7" fmla="*/ 1271534 h 3212301"/>
              <a:gd name="connsiteX8" fmla="*/ 0 w 7233470"/>
              <a:gd name="connsiteY8" fmla="*/ 1292662 h 3212301"/>
              <a:gd name="connsiteX9" fmla="*/ 0 w 7233470"/>
              <a:gd name="connsiteY9" fmla="*/ 0 h 32123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233470" h="3212301">
                <a:moveTo>
                  <a:pt x="0" y="0"/>
                </a:moveTo>
                <a:lnTo>
                  <a:pt x="7233470" y="0"/>
                </a:lnTo>
                <a:lnTo>
                  <a:pt x="7233470" y="1292662"/>
                </a:lnTo>
                <a:lnTo>
                  <a:pt x="6580326" y="1271534"/>
                </a:lnTo>
                <a:lnTo>
                  <a:pt x="6225763" y="1252873"/>
                </a:lnTo>
                <a:lnTo>
                  <a:pt x="7046857" y="3212301"/>
                </a:lnTo>
                <a:lnTo>
                  <a:pt x="5889861" y="1271534"/>
                </a:lnTo>
                <a:lnTo>
                  <a:pt x="5889861" y="1271534"/>
                </a:lnTo>
                <a:lnTo>
                  <a:pt x="0" y="129266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alpha val="6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/>
              <a:t>On Sep 27</a:t>
            </a:r>
            <a:r>
              <a:rPr lang="en-US" baseline="30000" dirty="0"/>
              <a:t>th</a:t>
            </a:r>
            <a:r>
              <a:rPr lang="en-US" dirty="0"/>
              <a:t> a big group of attendees is booked to have dinner at Atlantic Grill, would like me to go ahead and book a table for you at 8:00pm?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0443392" y="3667447"/>
            <a:ext cx="3627171" cy="2276153"/>
          </a:xfrm>
          <a:custGeom>
            <a:avLst/>
            <a:gdLst>
              <a:gd name="connsiteX0" fmla="*/ 0 w 3627171"/>
              <a:gd name="connsiteY0" fmla="*/ 0 h 1292662"/>
              <a:gd name="connsiteX1" fmla="*/ 3627171 w 3627171"/>
              <a:gd name="connsiteY1" fmla="*/ 0 h 1292662"/>
              <a:gd name="connsiteX2" fmla="*/ 3627171 w 3627171"/>
              <a:gd name="connsiteY2" fmla="*/ 1292662 h 1292662"/>
              <a:gd name="connsiteX3" fmla="*/ 0 w 3627171"/>
              <a:gd name="connsiteY3" fmla="*/ 1292662 h 1292662"/>
              <a:gd name="connsiteX4" fmla="*/ 0 w 3627171"/>
              <a:gd name="connsiteY4" fmla="*/ 0 h 1292662"/>
              <a:gd name="connsiteX0" fmla="*/ 0 w 3627171"/>
              <a:gd name="connsiteY0" fmla="*/ 0 h 1298253"/>
              <a:gd name="connsiteX1" fmla="*/ 3627171 w 3627171"/>
              <a:gd name="connsiteY1" fmla="*/ 0 h 1298253"/>
              <a:gd name="connsiteX2" fmla="*/ 3627171 w 3627171"/>
              <a:gd name="connsiteY2" fmla="*/ 1292662 h 1298253"/>
              <a:gd name="connsiteX3" fmla="*/ 1100908 w 3627171"/>
              <a:gd name="connsiteY3" fmla="*/ 1298253 h 1298253"/>
              <a:gd name="connsiteX4" fmla="*/ 0 w 3627171"/>
              <a:gd name="connsiteY4" fmla="*/ 1292662 h 1298253"/>
              <a:gd name="connsiteX5" fmla="*/ 0 w 3627171"/>
              <a:gd name="connsiteY5" fmla="*/ 0 h 1298253"/>
              <a:gd name="connsiteX0" fmla="*/ 0 w 3627171"/>
              <a:gd name="connsiteY0" fmla="*/ 0 h 1298253"/>
              <a:gd name="connsiteX1" fmla="*/ 3627171 w 3627171"/>
              <a:gd name="connsiteY1" fmla="*/ 0 h 1298253"/>
              <a:gd name="connsiteX2" fmla="*/ 3627171 w 3627171"/>
              <a:gd name="connsiteY2" fmla="*/ 1292662 h 1298253"/>
              <a:gd name="connsiteX3" fmla="*/ 1100908 w 3627171"/>
              <a:gd name="connsiteY3" fmla="*/ 1298253 h 1298253"/>
              <a:gd name="connsiteX4" fmla="*/ 465908 w 3627171"/>
              <a:gd name="connsiteY4" fmla="*/ 1298253 h 1298253"/>
              <a:gd name="connsiteX5" fmla="*/ 0 w 3627171"/>
              <a:gd name="connsiteY5" fmla="*/ 1292662 h 1298253"/>
              <a:gd name="connsiteX6" fmla="*/ 0 w 3627171"/>
              <a:gd name="connsiteY6" fmla="*/ 0 h 1298253"/>
              <a:gd name="connsiteX0" fmla="*/ 0 w 3627171"/>
              <a:gd name="connsiteY0" fmla="*/ 0 h 1298253"/>
              <a:gd name="connsiteX1" fmla="*/ 3627171 w 3627171"/>
              <a:gd name="connsiteY1" fmla="*/ 0 h 1298253"/>
              <a:gd name="connsiteX2" fmla="*/ 3627171 w 3627171"/>
              <a:gd name="connsiteY2" fmla="*/ 1292662 h 1298253"/>
              <a:gd name="connsiteX3" fmla="*/ 1100908 w 3627171"/>
              <a:gd name="connsiteY3" fmla="*/ 1298253 h 1298253"/>
              <a:gd name="connsiteX4" fmla="*/ 770708 w 3627171"/>
              <a:gd name="connsiteY4" fmla="*/ 1298253 h 1298253"/>
              <a:gd name="connsiteX5" fmla="*/ 465908 w 3627171"/>
              <a:gd name="connsiteY5" fmla="*/ 1298253 h 1298253"/>
              <a:gd name="connsiteX6" fmla="*/ 0 w 3627171"/>
              <a:gd name="connsiteY6" fmla="*/ 1292662 h 1298253"/>
              <a:gd name="connsiteX7" fmla="*/ 0 w 3627171"/>
              <a:gd name="connsiteY7" fmla="*/ 0 h 1298253"/>
              <a:gd name="connsiteX0" fmla="*/ 0 w 3627171"/>
              <a:gd name="connsiteY0" fmla="*/ 0 h 2276153"/>
              <a:gd name="connsiteX1" fmla="*/ 3627171 w 3627171"/>
              <a:gd name="connsiteY1" fmla="*/ 0 h 2276153"/>
              <a:gd name="connsiteX2" fmla="*/ 3627171 w 3627171"/>
              <a:gd name="connsiteY2" fmla="*/ 1292662 h 2276153"/>
              <a:gd name="connsiteX3" fmla="*/ 1100908 w 3627171"/>
              <a:gd name="connsiteY3" fmla="*/ 1298253 h 2276153"/>
              <a:gd name="connsiteX4" fmla="*/ 186508 w 3627171"/>
              <a:gd name="connsiteY4" fmla="*/ 2276153 h 2276153"/>
              <a:gd name="connsiteX5" fmla="*/ 465908 w 3627171"/>
              <a:gd name="connsiteY5" fmla="*/ 1298253 h 2276153"/>
              <a:gd name="connsiteX6" fmla="*/ 0 w 3627171"/>
              <a:gd name="connsiteY6" fmla="*/ 1292662 h 2276153"/>
              <a:gd name="connsiteX7" fmla="*/ 0 w 3627171"/>
              <a:gd name="connsiteY7" fmla="*/ 0 h 2276153"/>
              <a:gd name="connsiteX0" fmla="*/ 0 w 3627171"/>
              <a:gd name="connsiteY0" fmla="*/ 0 h 2276153"/>
              <a:gd name="connsiteX1" fmla="*/ 3627171 w 3627171"/>
              <a:gd name="connsiteY1" fmla="*/ 0 h 2276153"/>
              <a:gd name="connsiteX2" fmla="*/ 3627171 w 3627171"/>
              <a:gd name="connsiteY2" fmla="*/ 1292662 h 2276153"/>
              <a:gd name="connsiteX3" fmla="*/ 1100908 w 3627171"/>
              <a:gd name="connsiteY3" fmla="*/ 1298253 h 2276153"/>
              <a:gd name="connsiteX4" fmla="*/ 186508 w 3627171"/>
              <a:gd name="connsiteY4" fmla="*/ 2276153 h 2276153"/>
              <a:gd name="connsiteX5" fmla="*/ 656408 w 3627171"/>
              <a:gd name="connsiteY5" fmla="*/ 1310953 h 2276153"/>
              <a:gd name="connsiteX6" fmla="*/ 0 w 3627171"/>
              <a:gd name="connsiteY6" fmla="*/ 1292662 h 2276153"/>
              <a:gd name="connsiteX7" fmla="*/ 0 w 3627171"/>
              <a:gd name="connsiteY7" fmla="*/ 0 h 2276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27171" h="2276153">
                <a:moveTo>
                  <a:pt x="0" y="0"/>
                </a:moveTo>
                <a:lnTo>
                  <a:pt x="3627171" y="0"/>
                </a:lnTo>
                <a:lnTo>
                  <a:pt x="3627171" y="1292662"/>
                </a:lnTo>
                <a:lnTo>
                  <a:pt x="1100908" y="1298253"/>
                </a:lnTo>
                <a:lnTo>
                  <a:pt x="186508" y="2276153"/>
                </a:lnTo>
                <a:lnTo>
                  <a:pt x="656408" y="1310953"/>
                </a:lnTo>
                <a:lnTo>
                  <a:pt x="0" y="1292662"/>
                </a:lnTo>
                <a:lnTo>
                  <a:pt x="0" y="0"/>
                </a:lnTo>
                <a:close/>
              </a:path>
            </a:pathLst>
          </a:custGeom>
          <a:solidFill>
            <a:srgbClr val="FF660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 smtClean="0"/>
              <a:t>No. I’m in the mood for Italian. What would you recommend?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10778836" y="5981492"/>
            <a:ext cx="3291726" cy="892552"/>
          </a:xfrm>
          <a:custGeom>
            <a:avLst/>
            <a:gdLst>
              <a:gd name="connsiteX0" fmla="*/ 0 w 2164702"/>
              <a:gd name="connsiteY0" fmla="*/ 0 h 892552"/>
              <a:gd name="connsiteX1" fmla="*/ 2164702 w 2164702"/>
              <a:gd name="connsiteY1" fmla="*/ 0 h 892552"/>
              <a:gd name="connsiteX2" fmla="*/ 2164702 w 2164702"/>
              <a:gd name="connsiteY2" fmla="*/ 892552 h 892552"/>
              <a:gd name="connsiteX3" fmla="*/ 0 w 2164702"/>
              <a:gd name="connsiteY3" fmla="*/ 892552 h 892552"/>
              <a:gd name="connsiteX4" fmla="*/ 0 w 2164702"/>
              <a:gd name="connsiteY4" fmla="*/ 0 h 892552"/>
              <a:gd name="connsiteX0" fmla="*/ 5961 w 2170663"/>
              <a:gd name="connsiteY0" fmla="*/ 0 h 892552"/>
              <a:gd name="connsiteX1" fmla="*/ 2170663 w 2170663"/>
              <a:gd name="connsiteY1" fmla="*/ 0 h 892552"/>
              <a:gd name="connsiteX2" fmla="*/ 2170663 w 2170663"/>
              <a:gd name="connsiteY2" fmla="*/ 892552 h 892552"/>
              <a:gd name="connsiteX3" fmla="*/ 5961 w 2170663"/>
              <a:gd name="connsiteY3" fmla="*/ 892552 h 892552"/>
              <a:gd name="connsiteX4" fmla="*/ 0 w 2170663"/>
              <a:gd name="connsiteY4" fmla="*/ 216108 h 892552"/>
              <a:gd name="connsiteX5" fmla="*/ 5961 w 2170663"/>
              <a:gd name="connsiteY5" fmla="*/ 0 h 892552"/>
              <a:gd name="connsiteX0" fmla="*/ 18660 w 2183362"/>
              <a:gd name="connsiteY0" fmla="*/ 0 h 892552"/>
              <a:gd name="connsiteX1" fmla="*/ 2183362 w 2183362"/>
              <a:gd name="connsiteY1" fmla="*/ 0 h 892552"/>
              <a:gd name="connsiteX2" fmla="*/ 2183362 w 2183362"/>
              <a:gd name="connsiteY2" fmla="*/ 892552 h 892552"/>
              <a:gd name="connsiteX3" fmla="*/ 18660 w 2183362"/>
              <a:gd name="connsiteY3" fmla="*/ 892552 h 892552"/>
              <a:gd name="connsiteX4" fmla="*/ 0 w 2183362"/>
              <a:gd name="connsiteY4" fmla="*/ 622508 h 892552"/>
              <a:gd name="connsiteX5" fmla="*/ 12699 w 2183362"/>
              <a:gd name="connsiteY5" fmla="*/ 216108 h 892552"/>
              <a:gd name="connsiteX6" fmla="*/ 18660 w 2183362"/>
              <a:gd name="connsiteY6" fmla="*/ 0 h 892552"/>
              <a:gd name="connsiteX0" fmla="*/ 18660 w 2183362"/>
              <a:gd name="connsiteY0" fmla="*/ 0 h 892552"/>
              <a:gd name="connsiteX1" fmla="*/ 2183362 w 2183362"/>
              <a:gd name="connsiteY1" fmla="*/ 0 h 892552"/>
              <a:gd name="connsiteX2" fmla="*/ 2183362 w 2183362"/>
              <a:gd name="connsiteY2" fmla="*/ 892552 h 892552"/>
              <a:gd name="connsiteX3" fmla="*/ 18660 w 2183362"/>
              <a:gd name="connsiteY3" fmla="*/ 892552 h 892552"/>
              <a:gd name="connsiteX4" fmla="*/ 0 w 2183362"/>
              <a:gd name="connsiteY4" fmla="*/ 622508 h 892552"/>
              <a:gd name="connsiteX5" fmla="*/ 12699 w 2183362"/>
              <a:gd name="connsiteY5" fmla="*/ 216108 h 892552"/>
              <a:gd name="connsiteX6" fmla="*/ 18660 w 2183362"/>
              <a:gd name="connsiteY6" fmla="*/ 0 h 892552"/>
              <a:gd name="connsiteX0" fmla="*/ 18660 w 2183362"/>
              <a:gd name="connsiteY0" fmla="*/ 0 h 892552"/>
              <a:gd name="connsiteX1" fmla="*/ 2183362 w 2183362"/>
              <a:gd name="connsiteY1" fmla="*/ 0 h 892552"/>
              <a:gd name="connsiteX2" fmla="*/ 2183362 w 2183362"/>
              <a:gd name="connsiteY2" fmla="*/ 892552 h 892552"/>
              <a:gd name="connsiteX3" fmla="*/ 18660 w 2183362"/>
              <a:gd name="connsiteY3" fmla="*/ 892552 h 892552"/>
              <a:gd name="connsiteX4" fmla="*/ 0 w 2183362"/>
              <a:gd name="connsiteY4" fmla="*/ 622508 h 892552"/>
              <a:gd name="connsiteX5" fmla="*/ 12699 w 2183362"/>
              <a:gd name="connsiteY5" fmla="*/ 216108 h 892552"/>
              <a:gd name="connsiteX6" fmla="*/ 18660 w 2183362"/>
              <a:gd name="connsiteY6" fmla="*/ 0 h 892552"/>
              <a:gd name="connsiteX0" fmla="*/ 20637 w 2185339"/>
              <a:gd name="connsiteY0" fmla="*/ 0 h 892552"/>
              <a:gd name="connsiteX1" fmla="*/ 2185339 w 2185339"/>
              <a:gd name="connsiteY1" fmla="*/ 0 h 892552"/>
              <a:gd name="connsiteX2" fmla="*/ 2185339 w 2185339"/>
              <a:gd name="connsiteY2" fmla="*/ 892552 h 892552"/>
              <a:gd name="connsiteX3" fmla="*/ 20637 w 2185339"/>
              <a:gd name="connsiteY3" fmla="*/ 892552 h 892552"/>
              <a:gd name="connsiteX4" fmla="*/ 1977 w 2185339"/>
              <a:gd name="connsiteY4" fmla="*/ 622508 h 892552"/>
              <a:gd name="connsiteX5" fmla="*/ 1977 w 2185339"/>
              <a:gd name="connsiteY5" fmla="*/ 430392 h 892552"/>
              <a:gd name="connsiteX6" fmla="*/ 14676 w 2185339"/>
              <a:gd name="connsiteY6" fmla="*/ 216108 h 892552"/>
              <a:gd name="connsiteX7" fmla="*/ 20637 w 2185339"/>
              <a:gd name="connsiteY7" fmla="*/ 0 h 892552"/>
              <a:gd name="connsiteX0" fmla="*/ 1127027 w 3291729"/>
              <a:gd name="connsiteY0" fmla="*/ 0 h 892552"/>
              <a:gd name="connsiteX1" fmla="*/ 3291729 w 3291729"/>
              <a:gd name="connsiteY1" fmla="*/ 0 h 892552"/>
              <a:gd name="connsiteX2" fmla="*/ 3291729 w 3291729"/>
              <a:gd name="connsiteY2" fmla="*/ 892552 h 892552"/>
              <a:gd name="connsiteX3" fmla="*/ 1127027 w 3291729"/>
              <a:gd name="connsiteY3" fmla="*/ 892552 h 892552"/>
              <a:gd name="connsiteX4" fmla="*/ 1108367 w 3291729"/>
              <a:gd name="connsiteY4" fmla="*/ 622508 h 892552"/>
              <a:gd name="connsiteX5" fmla="*/ 3 w 3291729"/>
              <a:gd name="connsiteY5" fmla="*/ 469184 h 892552"/>
              <a:gd name="connsiteX6" fmla="*/ 1121066 w 3291729"/>
              <a:gd name="connsiteY6" fmla="*/ 216108 h 892552"/>
              <a:gd name="connsiteX7" fmla="*/ 1127027 w 3291729"/>
              <a:gd name="connsiteY7" fmla="*/ 0 h 892552"/>
              <a:gd name="connsiteX0" fmla="*/ 1127027 w 3291729"/>
              <a:gd name="connsiteY0" fmla="*/ 0 h 892552"/>
              <a:gd name="connsiteX1" fmla="*/ 3291729 w 3291729"/>
              <a:gd name="connsiteY1" fmla="*/ 0 h 892552"/>
              <a:gd name="connsiteX2" fmla="*/ 3291729 w 3291729"/>
              <a:gd name="connsiteY2" fmla="*/ 892552 h 892552"/>
              <a:gd name="connsiteX3" fmla="*/ 1127027 w 3291729"/>
              <a:gd name="connsiteY3" fmla="*/ 892552 h 892552"/>
              <a:gd name="connsiteX4" fmla="*/ 1108367 w 3291729"/>
              <a:gd name="connsiteY4" fmla="*/ 622508 h 892552"/>
              <a:gd name="connsiteX5" fmla="*/ 3 w 3291729"/>
              <a:gd name="connsiteY5" fmla="*/ 469184 h 892552"/>
              <a:gd name="connsiteX6" fmla="*/ 1121066 w 3291729"/>
              <a:gd name="connsiteY6" fmla="*/ 216108 h 892552"/>
              <a:gd name="connsiteX7" fmla="*/ 1127027 w 3291729"/>
              <a:gd name="connsiteY7" fmla="*/ 0 h 892552"/>
              <a:gd name="connsiteX0" fmla="*/ 1127024 w 3291726"/>
              <a:gd name="connsiteY0" fmla="*/ 0 h 892552"/>
              <a:gd name="connsiteX1" fmla="*/ 3291726 w 3291726"/>
              <a:gd name="connsiteY1" fmla="*/ 0 h 892552"/>
              <a:gd name="connsiteX2" fmla="*/ 3291726 w 3291726"/>
              <a:gd name="connsiteY2" fmla="*/ 892552 h 892552"/>
              <a:gd name="connsiteX3" fmla="*/ 1127024 w 3291726"/>
              <a:gd name="connsiteY3" fmla="*/ 892552 h 892552"/>
              <a:gd name="connsiteX4" fmla="*/ 1108364 w 3291726"/>
              <a:gd name="connsiteY4" fmla="*/ 622508 h 892552"/>
              <a:gd name="connsiteX5" fmla="*/ 0 w 3291726"/>
              <a:gd name="connsiteY5" fmla="*/ 469184 h 892552"/>
              <a:gd name="connsiteX6" fmla="*/ 1121063 w 3291726"/>
              <a:gd name="connsiteY6" fmla="*/ 216108 h 892552"/>
              <a:gd name="connsiteX7" fmla="*/ 1127024 w 3291726"/>
              <a:gd name="connsiteY7" fmla="*/ 0 h 892552"/>
              <a:gd name="connsiteX0" fmla="*/ 1127024 w 3291726"/>
              <a:gd name="connsiteY0" fmla="*/ 0 h 892552"/>
              <a:gd name="connsiteX1" fmla="*/ 3291726 w 3291726"/>
              <a:gd name="connsiteY1" fmla="*/ 0 h 892552"/>
              <a:gd name="connsiteX2" fmla="*/ 3291726 w 3291726"/>
              <a:gd name="connsiteY2" fmla="*/ 892552 h 892552"/>
              <a:gd name="connsiteX3" fmla="*/ 1127024 w 3291726"/>
              <a:gd name="connsiteY3" fmla="*/ 892552 h 892552"/>
              <a:gd name="connsiteX4" fmla="*/ 1108364 w 3291726"/>
              <a:gd name="connsiteY4" fmla="*/ 622508 h 892552"/>
              <a:gd name="connsiteX5" fmla="*/ 0 w 3291726"/>
              <a:gd name="connsiteY5" fmla="*/ 469184 h 892552"/>
              <a:gd name="connsiteX6" fmla="*/ 1121063 w 3291726"/>
              <a:gd name="connsiteY6" fmla="*/ 216108 h 892552"/>
              <a:gd name="connsiteX7" fmla="*/ 1127024 w 3291726"/>
              <a:gd name="connsiteY7" fmla="*/ 0 h 892552"/>
              <a:gd name="connsiteX0" fmla="*/ 1127024 w 3291726"/>
              <a:gd name="connsiteY0" fmla="*/ 0 h 892552"/>
              <a:gd name="connsiteX1" fmla="*/ 3291726 w 3291726"/>
              <a:gd name="connsiteY1" fmla="*/ 0 h 892552"/>
              <a:gd name="connsiteX2" fmla="*/ 3291726 w 3291726"/>
              <a:gd name="connsiteY2" fmla="*/ 892552 h 892552"/>
              <a:gd name="connsiteX3" fmla="*/ 1127024 w 3291726"/>
              <a:gd name="connsiteY3" fmla="*/ 892552 h 892552"/>
              <a:gd name="connsiteX4" fmla="*/ 1108364 w 3291726"/>
              <a:gd name="connsiteY4" fmla="*/ 622508 h 892552"/>
              <a:gd name="connsiteX5" fmla="*/ 0 w 3291726"/>
              <a:gd name="connsiteY5" fmla="*/ 469184 h 892552"/>
              <a:gd name="connsiteX6" fmla="*/ 1121063 w 3291726"/>
              <a:gd name="connsiteY6" fmla="*/ 216108 h 892552"/>
              <a:gd name="connsiteX7" fmla="*/ 1127024 w 3291726"/>
              <a:gd name="connsiteY7" fmla="*/ 0 h 892552"/>
              <a:gd name="connsiteX0" fmla="*/ 1127024 w 3291726"/>
              <a:gd name="connsiteY0" fmla="*/ 0 h 892552"/>
              <a:gd name="connsiteX1" fmla="*/ 3291726 w 3291726"/>
              <a:gd name="connsiteY1" fmla="*/ 0 h 892552"/>
              <a:gd name="connsiteX2" fmla="*/ 3291726 w 3291726"/>
              <a:gd name="connsiteY2" fmla="*/ 892552 h 892552"/>
              <a:gd name="connsiteX3" fmla="*/ 1127024 w 3291726"/>
              <a:gd name="connsiteY3" fmla="*/ 892552 h 892552"/>
              <a:gd name="connsiteX4" fmla="*/ 1108364 w 3291726"/>
              <a:gd name="connsiteY4" fmla="*/ 622508 h 892552"/>
              <a:gd name="connsiteX5" fmla="*/ 0 w 3291726"/>
              <a:gd name="connsiteY5" fmla="*/ 469184 h 892552"/>
              <a:gd name="connsiteX6" fmla="*/ 1121063 w 3291726"/>
              <a:gd name="connsiteY6" fmla="*/ 216108 h 892552"/>
              <a:gd name="connsiteX7" fmla="*/ 1127024 w 3291726"/>
              <a:gd name="connsiteY7" fmla="*/ 0 h 892552"/>
              <a:gd name="connsiteX0" fmla="*/ 1127024 w 3291726"/>
              <a:gd name="connsiteY0" fmla="*/ 0 h 892552"/>
              <a:gd name="connsiteX1" fmla="*/ 3291726 w 3291726"/>
              <a:gd name="connsiteY1" fmla="*/ 0 h 892552"/>
              <a:gd name="connsiteX2" fmla="*/ 3291726 w 3291726"/>
              <a:gd name="connsiteY2" fmla="*/ 892552 h 892552"/>
              <a:gd name="connsiteX3" fmla="*/ 1127024 w 3291726"/>
              <a:gd name="connsiteY3" fmla="*/ 892552 h 892552"/>
              <a:gd name="connsiteX4" fmla="*/ 1108364 w 3291726"/>
              <a:gd name="connsiteY4" fmla="*/ 622508 h 892552"/>
              <a:gd name="connsiteX5" fmla="*/ 0 w 3291726"/>
              <a:gd name="connsiteY5" fmla="*/ 469184 h 892552"/>
              <a:gd name="connsiteX6" fmla="*/ 1121063 w 3291726"/>
              <a:gd name="connsiteY6" fmla="*/ 216108 h 892552"/>
              <a:gd name="connsiteX7" fmla="*/ 1127024 w 3291726"/>
              <a:gd name="connsiteY7" fmla="*/ 0 h 892552"/>
              <a:gd name="connsiteX0" fmla="*/ 1127024 w 3291726"/>
              <a:gd name="connsiteY0" fmla="*/ 0 h 892552"/>
              <a:gd name="connsiteX1" fmla="*/ 3291726 w 3291726"/>
              <a:gd name="connsiteY1" fmla="*/ 0 h 892552"/>
              <a:gd name="connsiteX2" fmla="*/ 3291726 w 3291726"/>
              <a:gd name="connsiteY2" fmla="*/ 892552 h 892552"/>
              <a:gd name="connsiteX3" fmla="*/ 1127024 w 3291726"/>
              <a:gd name="connsiteY3" fmla="*/ 892552 h 892552"/>
              <a:gd name="connsiteX4" fmla="*/ 1124989 w 3291726"/>
              <a:gd name="connsiteY4" fmla="*/ 616966 h 892552"/>
              <a:gd name="connsiteX5" fmla="*/ 0 w 3291726"/>
              <a:gd name="connsiteY5" fmla="*/ 469184 h 892552"/>
              <a:gd name="connsiteX6" fmla="*/ 1121063 w 3291726"/>
              <a:gd name="connsiteY6" fmla="*/ 216108 h 892552"/>
              <a:gd name="connsiteX7" fmla="*/ 1127024 w 3291726"/>
              <a:gd name="connsiteY7" fmla="*/ 0 h 892552"/>
              <a:gd name="connsiteX0" fmla="*/ 1127024 w 3291726"/>
              <a:gd name="connsiteY0" fmla="*/ 0 h 892552"/>
              <a:gd name="connsiteX1" fmla="*/ 3291726 w 3291726"/>
              <a:gd name="connsiteY1" fmla="*/ 0 h 892552"/>
              <a:gd name="connsiteX2" fmla="*/ 3291726 w 3291726"/>
              <a:gd name="connsiteY2" fmla="*/ 892552 h 892552"/>
              <a:gd name="connsiteX3" fmla="*/ 1127024 w 3291726"/>
              <a:gd name="connsiteY3" fmla="*/ 892552 h 892552"/>
              <a:gd name="connsiteX4" fmla="*/ 1113906 w 3291726"/>
              <a:gd name="connsiteY4" fmla="*/ 544922 h 892552"/>
              <a:gd name="connsiteX5" fmla="*/ 0 w 3291726"/>
              <a:gd name="connsiteY5" fmla="*/ 469184 h 892552"/>
              <a:gd name="connsiteX6" fmla="*/ 1121063 w 3291726"/>
              <a:gd name="connsiteY6" fmla="*/ 216108 h 892552"/>
              <a:gd name="connsiteX7" fmla="*/ 1127024 w 3291726"/>
              <a:gd name="connsiteY7" fmla="*/ 0 h 892552"/>
              <a:gd name="connsiteX0" fmla="*/ 1127024 w 3291726"/>
              <a:gd name="connsiteY0" fmla="*/ 0 h 892552"/>
              <a:gd name="connsiteX1" fmla="*/ 3291726 w 3291726"/>
              <a:gd name="connsiteY1" fmla="*/ 0 h 892552"/>
              <a:gd name="connsiteX2" fmla="*/ 3291726 w 3291726"/>
              <a:gd name="connsiteY2" fmla="*/ 892552 h 892552"/>
              <a:gd name="connsiteX3" fmla="*/ 1127024 w 3291726"/>
              <a:gd name="connsiteY3" fmla="*/ 892552 h 892552"/>
              <a:gd name="connsiteX4" fmla="*/ 1119447 w 3291726"/>
              <a:gd name="connsiteY4" fmla="*/ 544922 h 892552"/>
              <a:gd name="connsiteX5" fmla="*/ 0 w 3291726"/>
              <a:gd name="connsiteY5" fmla="*/ 469184 h 892552"/>
              <a:gd name="connsiteX6" fmla="*/ 1121063 w 3291726"/>
              <a:gd name="connsiteY6" fmla="*/ 216108 h 892552"/>
              <a:gd name="connsiteX7" fmla="*/ 1127024 w 3291726"/>
              <a:gd name="connsiteY7" fmla="*/ 0 h 892552"/>
              <a:gd name="connsiteX0" fmla="*/ 1127024 w 3291726"/>
              <a:gd name="connsiteY0" fmla="*/ 0 h 892552"/>
              <a:gd name="connsiteX1" fmla="*/ 3291726 w 3291726"/>
              <a:gd name="connsiteY1" fmla="*/ 0 h 892552"/>
              <a:gd name="connsiteX2" fmla="*/ 3291726 w 3291726"/>
              <a:gd name="connsiteY2" fmla="*/ 892552 h 892552"/>
              <a:gd name="connsiteX3" fmla="*/ 1127024 w 3291726"/>
              <a:gd name="connsiteY3" fmla="*/ 892552 h 892552"/>
              <a:gd name="connsiteX4" fmla="*/ 1119447 w 3291726"/>
              <a:gd name="connsiteY4" fmla="*/ 544922 h 892552"/>
              <a:gd name="connsiteX5" fmla="*/ 0 w 3291726"/>
              <a:gd name="connsiteY5" fmla="*/ 469184 h 892552"/>
              <a:gd name="connsiteX6" fmla="*/ 1121063 w 3291726"/>
              <a:gd name="connsiteY6" fmla="*/ 254900 h 892552"/>
              <a:gd name="connsiteX7" fmla="*/ 1127024 w 3291726"/>
              <a:gd name="connsiteY7" fmla="*/ 0 h 892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291726" h="892552">
                <a:moveTo>
                  <a:pt x="1127024" y="0"/>
                </a:moveTo>
                <a:lnTo>
                  <a:pt x="3291726" y="0"/>
                </a:lnTo>
                <a:lnTo>
                  <a:pt x="3291726" y="892552"/>
                </a:lnTo>
                <a:lnTo>
                  <a:pt x="1127024" y="892552"/>
                </a:lnTo>
                <a:cubicBezTo>
                  <a:pt x="1120804" y="802537"/>
                  <a:pt x="1120125" y="551810"/>
                  <a:pt x="1119447" y="544922"/>
                </a:cubicBezTo>
                <a:cubicBezTo>
                  <a:pt x="1127421" y="534397"/>
                  <a:pt x="441228" y="520292"/>
                  <a:pt x="0" y="469184"/>
                </a:cubicBezTo>
                <a:cubicBezTo>
                  <a:pt x="340168" y="395910"/>
                  <a:pt x="1117953" y="249047"/>
                  <a:pt x="1121063" y="254900"/>
                </a:cubicBezTo>
                <a:cubicBezTo>
                  <a:pt x="1134133" y="243824"/>
                  <a:pt x="1125037" y="72036"/>
                  <a:pt x="1127024" y="0"/>
                </a:cubicBezTo>
                <a:close/>
              </a:path>
            </a:pathLst>
          </a:custGeom>
          <a:solidFill>
            <a:srgbClr val="FF660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r"/>
            <a:r>
              <a:rPr lang="en-US" dirty="0" smtClean="0"/>
              <a:t>Which one </a:t>
            </a:r>
          </a:p>
          <a:p>
            <a:pPr algn="r"/>
            <a:r>
              <a:rPr lang="en-US" dirty="0" smtClean="0"/>
              <a:t>Is the best? </a:t>
            </a:r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382130" y="4960109"/>
            <a:ext cx="6741541" cy="1293560"/>
          </a:xfrm>
          <a:custGeom>
            <a:avLst/>
            <a:gdLst>
              <a:gd name="connsiteX0" fmla="*/ 0 w 5234900"/>
              <a:gd name="connsiteY0" fmla="*/ 0 h 1292662"/>
              <a:gd name="connsiteX1" fmla="*/ 5234900 w 5234900"/>
              <a:gd name="connsiteY1" fmla="*/ 0 h 1292662"/>
              <a:gd name="connsiteX2" fmla="*/ 5234900 w 5234900"/>
              <a:gd name="connsiteY2" fmla="*/ 1292662 h 1292662"/>
              <a:gd name="connsiteX3" fmla="*/ 0 w 5234900"/>
              <a:gd name="connsiteY3" fmla="*/ 1292662 h 1292662"/>
              <a:gd name="connsiteX4" fmla="*/ 0 w 5234900"/>
              <a:gd name="connsiteY4" fmla="*/ 0 h 1292662"/>
              <a:gd name="connsiteX0" fmla="*/ 0 w 5234900"/>
              <a:gd name="connsiteY0" fmla="*/ 0 h 1292662"/>
              <a:gd name="connsiteX1" fmla="*/ 5234900 w 5234900"/>
              <a:gd name="connsiteY1" fmla="*/ 0 h 1292662"/>
              <a:gd name="connsiteX2" fmla="*/ 5234899 w 5234900"/>
              <a:gd name="connsiteY2" fmla="*/ 414324 h 1292662"/>
              <a:gd name="connsiteX3" fmla="*/ 5234900 w 5234900"/>
              <a:gd name="connsiteY3" fmla="*/ 1292662 h 1292662"/>
              <a:gd name="connsiteX4" fmla="*/ 0 w 5234900"/>
              <a:gd name="connsiteY4" fmla="*/ 1292662 h 1292662"/>
              <a:gd name="connsiteX5" fmla="*/ 0 w 5234900"/>
              <a:gd name="connsiteY5" fmla="*/ 0 h 1292662"/>
              <a:gd name="connsiteX0" fmla="*/ 0 w 5622375"/>
              <a:gd name="connsiteY0" fmla="*/ 0 h 1292662"/>
              <a:gd name="connsiteX1" fmla="*/ 5234900 w 5622375"/>
              <a:gd name="connsiteY1" fmla="*/ 0 h 1292662"/>
              <a:gd name="connsiteX2" fmla="*/ 5234899 w 5622375"/>
              <a:gd name="connsiteY2" fmla="*/ 414324 h 1292662"/>
              <a:gd name="connsiteX3" fmla="*/ 5234016 w 5622375"/>
              <a:gd name="connsiteY3" fmla="*/ 940242 h 1292662"/>
              <a:gd name="connsiteX4" fmla="*/ 5234900 w 5622375"/>
              <a:gd name="connsiteY4" fmla="*/ 1292662 h 1292662"/>
              <a:gd name="connsiteX5" fmla="*/ 0 w 5622375"/>
              <a:gd name="connsiteY5" fmla="*/ 1292662 h 1292662"/>
              <a:gd name="connsiteX6" fmla="*/ 0 w 5622375"/>
              <a:gd name="connsiteY6" fmla="*/ 0 h 1292662"/>
              <a:gd name="connsiteX0" fmla="*/ 0 w 5622375"/>
              <a:gd name="connsiteY0" fmla="*/ 0 h 1292662"/>
              <a:gd name="connsiteX1" fmla="*/ 5234900 w 5622375"/>
              <a:gd name="connsiteY1" fmla="*/ 0 h 1292662"/>
              <a:gd name="connsiteX2" fmla="*/ 5234899 w 5622375"/>
              <a:gd name="connsiteY2" fmla="*/ 414324 h 1292662"/>
              <a:gd name="connsiteX3" fmla="*/ 5234016 w 5622375"/>
              <a:gd name="connsiteY3" fmla="*/ 940242 h 1292662"/>
              <a:gd name="connsiteX4" fmla="*/ 5234900 w 5622375"/>
              <a:gd name="connsiteY4" fmla="*/ 1292662 h 1292662"/>
              <a:gd name="connsiteX5" fmla="*/ 0 w 5622375"/>
              <a:gd name="connsiteY5" fmla="*/ 1292662 h 1292662"/>
              <a:gd name="connsiteX6" fmla="*/ 0 w 5622375"/>
              <a:gd name="connsiteY6" fmla="*/ 0 h 1292662"/>
              <a:gd name="connsiteX0" fmla="*/ 0 w 5237957"/>
              <a:gd name="connsiteY0" fmla="*/ 0 h 1294091"/>
              <a:gd name="connsiteX1" fmla="*/ 5234900 w 5237957"/>
              <a:gd name="connsiteY1" fmla="*/ 0 h 1294091"/>
              <a:gd name="connsiteX2" fmla="*/ 5234899 w 5237957"/>
              <a:gd name="connsiteY2" fmla="*/ 414324 h 1294091"/>
              <a:gd name="connsiteX3" fmla="*/ 5234016 w 5237957"/>
              <a:gd name="connsiteY3" fmla="*/ 940242 h 1294091"/>
              <a:gd name="connsiteX4" fmla="*/ 5234900 w 5237957"/>
              <a:gd name="connsiteY4" fmla="*/ 1292662 h 1294091"/>
              <a:gd name="connsiteX5" fmla="*/ 0 w 5237957"/>
              <a:gd name="connsiteY5" fmla="*/ 1292662 h 1294091"/>
              <a:gd name="connsiteX6" fmla="*/ 0 w 5237957"/>
              <a:gd name="connsiteY6" fmla="*/ 0 h 1294091"/>
              <a:gd name="connsiteX0" fmla="*/ 0 w 5237987"/>
              <a:gd name="connsiteY0" fmla="*/ 0 h 1293906"/>
              <a:gd name="connsiteX1" fmla="*/ 5234900 w 5237987"/>
              <a:gd name="connsiteY1" fmla="*/ 0 h 1293906"/>
              <a:gd name="connsiteX2" fmla="*/ 5234899 w 5237987"/>
              <a:gd name="connsiteY2" fmla="*/ 414324 h 1293906"/>
              <a:gd name="connsiteX3" fmla="*/ 5234016 w 5237987"/>
              <a:gd name="connsiteY3" fmla="*/ 637502 h 1293906"/>
              <a:gd name="connsiteX4" fmla="*/ 5234016 w 5237987"/>
              <a:gd name="connsiteY4" fmla="*/ 940242 h 1293906"/>
              <a:gd name="connsiteX5" fmla="*/ 5234900 w 5237987"/>
              <a:gd name="connsiteY5" fmla="*/ 1292662 h 1293906"/>
              <a:gd name="connsiteX6" fmla="*/ 0 w 5237987"/>
              <a:gd name="connsiteY6" fmla="*/ 1292662 h 1293906"/>
              <a:gd name="connsiteX7" fmla="*/ 0 w 5237987"/>
              <a:gd name="connsiteY7" fmla="*/ 0 h 1293906"/>
              <a:gd name="connsiteX0" fmla="*/ 0 w 6741541"/>
              <a:gd name="connsiteY0" fmla="*/ 0 h 1293646"/>
              <a:gd name="connsiteX1" fmla="*/ 5234900 w 6741541"/>
              <a:gd name="connsiteY1" fmla="*/ 0 h 1293646"/>
              <a:gd name="connsiteX2" fmla="*/ 5234899 w 6741541"/>
              <a:gd name="connsiteY2" fmla="*/ 414324 h 1293646"/>
              <a:gd name="connsiteX3" fmla="*/ 6741541 w 6741541"/>
              <a:gd name="connsiteY3" fmla="*/ 1088524 h 1293646"/>
              <a:gd name="connsiteX4" fmla="*/ 5234016 w 6741541"/>
              <a:gd name="connsiteY4" fmla="*/ 940242 h 1293646"/>
              <a:gd name="connsiteX5" fmla="*/ 5234900 w 6741541"/>
              <a:gd name="connsiteY5" fmla="*/ 1292662 h 1293646"/>
              <a:gd name="connsiteX6" fmla="*/ 0 w 6741541"/>
              <a:gd name="connsiteY6" fmla="*/ 1292662 h 1293646"/>
              <a:gd name="connsiteX7" fmla="*/ 0 w 6741541"/>
              <a:gd name="connsiteY7" fmla="*/ 0 h 1293646"/>
              <a:gd name="connsiteX0" fmla="*/ 0 w 6741541"/>
              <a:gd name="connsiteY0" fmla="*/ 0 h 1293568"/>
              <a:gd name="connsiteX1" fmla="*/ 5234900 w 6741541"/>
              <a:gd name="connsiteY1" fmla="*/ 0 h 1293568"/>
              <a:gd name="connsiteX2" fmla="*/ 5234899 w 6741541"/>
              <a:gd name="connsiteY2" fmla="*/ 414324 h 1293568"/>
              <a:gd name="connsiteX3" fmla="*/ 6741541 w 6741541"/>
              <a:gd name="connsiteY3" fmla="*/ 1088524 h 1293568"/>
              <a:gd name="connsiteX4" fmla="*/ 5234016 w 6741541"/>
              <a:gd name="connsiteY4" fmla="*/ 940242 h 1293568"/>
              <a:gd name="connsiteX5" fmla="*/ 5234900 w 6741541"/>
              <a:gd name="connsiteY5" fmla="*/ 1292662 h 1293568"/>
              <a:gd name="connsiteX6" fmla="*/ 0 w 6741541"/>
              <a:gd name="connsiteY6" fmla="*/ 1292662 h 1293568"/>
              <a:gd name="connsiteX7" fmla="*/ 0 w 6741541"/>
              <a:gd name="connsiteY7" fmla="*/ 0 h 1293568"/>
              <a:gd name="connsiteX0" fmla="*/ 0 w 6741541"/>
              <a:gd name="connsiteY0" fmla="*/ 0 h 1293560"/>
              <a:gd name="connsiteX1" fmla="*/ 5234900 w 6741541"/>
              <a:gd name="connsiteY1" fmla="*/ 0 h 1293560"/>
              <a:gd name="connsiteX2" fmla="*/ 5234899 w 6741541"/>
              <a:gd name="connsiteY2" fmla="*/ 414324 h 1293560"/>
              <a:gd name="connsiteX3" fmla="*/ 6741541 w 6741541"/>
              <a:gd name="connsiteY3" fmla="*/ 1088524 h 1293560"/>
              <a:gd name="connsiteX4" fmla="*/ 5234016 w 6741541"/>
              <a:gd name="connsiteY4" fmla="*/ 940242 h 1293560"/>
              <a:gd name="connsiteX5" fmla="*/ 5234900 w 6741541"/>
              <a:gd name="connsiteY5" fmla="*/ 1292662 h 1293560"/>
              <a:gd name="connsiteX6" fmla="*/ 0 w 6741541"/>
              <a:gd name="connsiteY6" fmla="*/ 1292662 h 1293560"/>
              <a:gd name="connsiteX7" fmla="*/ 0 w 6741541"/>
              <a:gd name="connsiteY7" fmla="*/ 0 h 1293560"/>
              <a:gd name="connsiteX0" fmla="*/ 0 w 6741541"/>
              <a:gd name="connsiteY0" fmla="*/ 0 h 1293560"/>
              <a:gd name="connsiteX1" fmla="*/ 5234900 w 6741541"/>
              <a:gd name="connsiteY1" fmla="*/ 0 h 1293560"/>
              <a:gd name="connsiteX2" fmla="*/ 5234899 w 6741541"/>
              <a:gd name="connsiteY2" fmla="*/ 414324 h 1293560"/>
              <a:gd name="connsiteX3" fmla="*/ 6741541 w 6741541"/>
              <a:gd name="connsiteY3" fmla="*/ 1088524 h 1293560"/>
              <a:gd name="connsiteX4" fmla="*/ 5234016 w 6741541"/>
              <a:gd name="connsiteY4" fmla="*/ 940242 h 1293560"/>
              <a:gd name="connsiteX5" fmla="*/ 5234900 w 6741541"/>
              <a:gd name="connsiteY5" fmla="*/ 1292662 h 1293560"/>
              <a:gd name="connsiteX6" fmla="*/ 0 w 6741541"/>
              <a:gd name="connsiteY6" fmla="*/ 1292662 h 1293560"/>
              <a:gd name="connsiteX7" fmla="*/ 0 w 6741541"/>
              <a:gd name="connsiteY7" fmla="*/ 0 h 1293560"/>
              <a:gd name="connsiteX0" fmla="*/ 0 w 6741541"/>
              <a:gd name="connsiteY0" fmla="*/ 0 h 1293560"/>
              <a:gd name="connsiteX1" fmla="*/ 5234900 w 6741541"/>
              <a:gd name="connsiteY1" fmla="*/ 0 h 1293560"/>
              <a:gd name="connsiteX2" fmla="*/ 5234899 w 6741541"/>
              <a:gd name="connsiteY2" fmla="*/ 414324 h 1293560"/>
              <a:gd name="connsiteX3" fmla="*/ 6741541 w 6741541"/>
              <a:gd name="connsiteY3" fmla="*/ 1088524 h 1293560"/>
              <a:gd name="connsiteX4" fmla="*/ 5234016 w 6741541"/>
              <a:gd name="connsiteY4" fmla="*/ 940242 h 1293560"/>
              <a:gd name="connsiteX5" fmla="*/ 5234900 w 6741541"/>
              <a:gd name="connsiteY5" fmla="*/ 1292662 h 1293560"/>
              <a:gd name="connsiteX6" fmla="*/ 0 w 6741541"/>
              <a:gd name="connsiteY6" fmla="*/ 1292662 h 1293560"/>
              <a:gd name="connsiteX7" fmla="*/ 0 w 6741541"/>
              <a:gd name="connsiteY7" fmla="*/ 0 h 1293560"/>
              <a:gd name="connsiteX0" fmla="*/ 0 w 6741541"/>
              <a:gd name="connsiteY0" fmla="*/ 0 h 1293560"/>
              <a:gd name="connsiteX1" fmla="*/ 5234900 w 6741541"/>
              <a:gd name="connsiteY1" fmla="*/ 0 h 1293560"/>
              <a:gd name="connsiteX2" fmla="*/ 5234899 w 6741541"/>
              <a:gd name="connsiteY2" fmla="*/ 414324 h 1293560"/>
              <a:gd name="connsiteX3" fmla="*/ 6741541 w 6741541"/>
              <a:gd name="connsiteY3" fmla="*/ 1088524 h 1293560"/>
              <a:gd name="connsiteX4" fmla="*/ 5234016 w 6741541"/>
              <a:gd name="connsiteY4" fmla="*/ 940242 h 1293560"/>
              <a:gd name="connsiteX5" fmla="*/ 5234900 w 6741541"/>
              <a:gd name="connsiteY5" fmla="*/ 1292662 h 1293560"/>
              <a:gd name="connsiteX6" fmla="*/ 0 w 6741541"/>
              <a:gd name="connsiteY6" fmla="*/ 1292662 h 1293560"/>
              <a:gd name="connsiteX7" fmla="*/ 0 w 6741541"/>
              <a:gd name="connsiteY7" fmla="*/ 0 h 1293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41541" h="1293560">
                <a:moveTo>
                  <a:pt x="0" y="0"/>
                </a:moveTo>
                <a:lnTo>
                  <a:pt x="5234900" y="0"/>
                </a:lnTo>
                <a:cubicBezTo>
                  <a:pt x="5234900" y="138108"/>
                  <a:pt x="5234899" y="276216"/>
                  <a:pt x="5234899" y="414324"/>
                </a:cubicBezTo>
                <a:cubicBezTo>
                  <a:pt x="5234752" y="427899"/>
                  <a:pt x="6741688" y="1062655"/>
                  <a:pt x="6741541" y="1088524"/>
                </a:cubicBezTo>
                <a:cubicBezTo>
                  <a:pt x="6729037" y="1095858"/>
                  <a:pt x="5995237" y="987233"/>
                  <a:pt x="5234016" y="940242"/>
                </a:cubicBezTo>
                <a:cubicBezTo>
                  <a:pt x="5228969" y="939930"/>
                  <a:pt x="5242263" y="1314244"/>
                  <a:pt x="5234900" y="1292662"/>
                </a:cubicBezTo>
                <a:lnTo>
                  <a:pt x="0" y="129266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alpha val="6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dirty="0" smtClean="0"/>
              <a:t>The two highest recommended </a:t>
            </a:r>
          </a:p>
          <a:p>
            <a:r>
              <a:rPr lang="en-US" dirty="0" smtClean="0"/>
              <a:t>ones are Bambino and </a:t>
            </a:r>
            <a:r>
              <a:rPr lang="en-US" dirty="0" err="1" smtClean="0"/>
              <a:t>Gianpiero</a:t>
            </a:r>
            <a:r>
              <a:rPr lang="en-US" dirty="0" smtClean="0"/>
              <a:t>. </a:t>
            </a:r>
          </a:p>
          <a:p>
            <a:r>
              <a:rPr lang="en-US" dirty="0" smtClean="0"/>
              <a:t>Which one would you like? </a:t>
            </a:r>
            <a:endParaRPr lang="en-US" dirty="0"/>
          </a:p>
        </p:txBody>
      </p:sp>
      <p:grpSp>
        <p:nvGrpSpPr>
          <p:cNvPr id="17" name="Group 16"/>
          <p:cNvGrpSpPr/>
          <p:nvPr/>
        </p:nvGrpSpPr>
        <p:grpSpPr>
          <a:xfrm>
            <a:off x="-202166" y="-277150"/>
            <a:ext cx="14891661" cy="2638230"/>
            <a:chOff x="-202166" y="-277150"/>
            <a:chExt cx="14891661" cy="2638230"/>
          </a:xfrm>
        </p:grpSpPr>
        <p:grpSp>
          <p:nvGrpSpPr>
            <p:cNvPr id="18" name="Group 17"/>
            <p:cNvGrpSpPr/>
            <p:nvPr/>
          </p:nvGrpSpPr>
          <p:grpSpPr>
            <a:xfrm>
              <a:off x="-202166" y="-277150"/>
              <a:ext cx="14832565" cy="2638230"/>
              <a:chOff x="-202166" y="-277150"/>
              <a:chExt cx="14832565" cy="2638230"/>
            </a:xfrm>
          </p:grpSpPr>
          <p:grpSp>
            <p:nvGrpSpPr>
              <p:cNvPr id="21" name="Group 20"/>
              <p:cNvGrpSpPr/>
              <p:nvPr/>
            </p:nvGrpSpPr>
            <p:grpSpPr>
              <a:xfrm flipH="1">
                <a:off x="3309692" y="-27035"/>
                <a:ext cx="11320707" cy="2146780"/>
                <a:chOff x="41560" y="-27035"/>
                <a:chExt cx="11093455" cy="2146780"/>
              </a:xfrm>
            </p:grpSpPr>
            <p:pic>
              <p:nvPicPr>
                <p:cNvPr id="23" name="Picture 2"/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xmlns="" val="0"/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41560" y="-27035"/>
                  <a:ext cx="9538858" cy="2138001"/>
                </a:xfrm>
                <a:prstGeom prst="rect">
                  <a:avLst/>
                </a:prstGeom>
                <a:ln>
                  <a:noFill/>
                </a:ln>
                <a:effectLst/>
              </p:spPr>
            </p:pic>
            <p:sp>
              <p:nvSpPr>
                <p:cNvPr id="24" name="Rectangle 23"/>
                <p:cNvSpPr/>
                <p:nvPr/>
              </p:nvSpPr>
              <p:spPr>
                <a:xfrm>
                  <a:off x="41560" y="0"/>
                  <a:ext cx="11093455" cy="211974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2"/>
                    </a:gs>
                    <a:gs pos="20000">
                      <a:schemeClr val="accent2">
                        <a:alpha val="35000"/>
                      </a:schemeClr>
                    </a:gs>
                    <a:gs pos="100000">
                      <a:schemeClr val="accent2">
                        <a:alpha val="70000"/>
                      </a:schemeClr>
                    </a:gs>
                    <a:gs pos="82000">
                      <a:srgbClr val="002562"/>
                    </a:gs>
                    <a:gs pos="44000">
                      <a:schemeClr val="bg2">
                        <a:alpha val="0"/>
                      </a:schemeClr>
                    </a:gs>
                  </a:gsLst>
                  <a:lin ang="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pic>
            <p:nvPicPr>
              <p:cNvPr id="22" name="Picture 6" descr="Heads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xmlns="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02166" y="-277150"/>
                <a:ext cx="4067479" cy="26382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9" name="TextBox 18"/>
            <p:cNvSpPr txBox="1"/>
            <p:nvPr/>
          </p:nvSpPr>
          <p:spPr>
            <a:xfrm>
              <a:off x="4447212" y="598207"/>
              <a:ext cx="5700765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5400" kern="0" dirty="0">
                  <a:latin typeface="+mj-lt"/>
                  <a:ea typeface="MS PGothic" charset="0"/>
                  <a:cs typeface="Calibri" charset="0"/>
                </a:rPr>
                <a:t>Ana’s</a:t>
              </a:r>
              <a:r>
                <a:rPr lang="en-US" sz="3600" dirty="0" smtClean="0"/>
                <a:t> </a:t>
              </a:r>
              <a:r>
                <a:rPr lang="en-US" sz="5400" kern="0" dirty="0">
                  <a:solidFill>
                    <a:srgbClr val="83D1F5"/>
                  </a:solidFill>
                  <a:latin typeface="+mj-lt"/>
                  <a:ea typeface="MS PGothic" charset="0"/>
                  <a:cs typeface="Calibri" charset="0"/>
                </a:rPr>
                <a:t>Travel App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-93305" y="2110966"/>
              <a:ext cx="14782800" cy="125057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5" name="Picture 6" descr="Head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6607892" y="5554929"/>
            <a:ext cx="4067479" cy="26382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84077406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 animBg="1"/>
      <p:bldP spid="13" grpId="0" animBg="1"/>
      <p:bldP spid="14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676467080"/>
              </p:ext>
            </p:extLst>
          </p:nvPr>
        </p:nvGraphicFramePr>
        <p:xfrm>
          <a:off x="595077" y="4049664"/>
          <a:ext cx="7350551" cy="36914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8136098" y="3294282"/>
            <a:ext cx="6096007" cy="492443"/>
          </a:xfrm>
          <a:prstGeom prst="rect">
            <a:avLst/>
          </a:prstGeom>
          <a:solidFill>
            <a:srgbClr val="FF660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dirty="0" smtClean="0"/>
              <a:t>Ok. Can you book please? </a:t>
            </a:r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8169973" y="2532575"/>
            <a:ext cx="6062132" cy="492443"/>
          </a:xfrm>
          <a:prstGeom prst="rect">
            <a:avLst/>
          </a:prstGeom>
          <a:solidFill>
            <a:schemeClr val="accent2">
              <a:alpha val="6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dirty="0" smtClean="0"/>
              <a:t>Based on your </a:t>
            </a:r>
            <a:r>
              <a:rPr lang="en-US" dirty="0" err="1" smtClean="0"/>
              <a:t>prefences</a:t>
            </a:r>
            <a:r>
              <a:rPr lang="en-US" dirty="0" smtClean="0"/>
              <a:t>, </a:t>
            </a:r>
            <a:r>
              <a:rPr lang="en-US" dirty="0" err="1" smtClean="0"/>
              <a:t>Giampietro</a:t>
            </a:r>
            <a:r>
              <a:rPr lang="en-US" dirty="0" smtClean="0"/>
              <a:t>. 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8136106" y="4124308"/>
            <a:ext cx="6095999" cy="492443"/>
          </a:xfrm>
          <a:prstGeom prst="rect">
            <a:avLst/>
          </a:prstGeom>
          <a:solidFill>
            <a:schemeClr val="accent2">
              <a:alpha val="6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dirty="0" smtClean="0"/>
              <a:t>Restaurant is booked for Sep 27 2016. </a:t>
            </a:r>
            <a:endParaRPr lang="en-US" dirty="0"/>
          </a:p>
        </p:txBody>
      </p:sp>
      <p:grpSp>
        <p:nvGrpSpPr>
          <p:cNvPr id="17" name="Group 16"/>
          <p:cNvGrpSpPr/>
          <p:nvPr/>
        </p:nvGrpSpPr>
        <p:grpSpPr>
          <a:xfrm>
            <a:off x="-202166" y="-277150"/>
            <a:ext cx="14891661" cy="2638230"/>
            <a:chOff x="-202166" y="-277150"/>
            <a:chExt cx="14891661" cy="2638230"/>
          </a:xfrm>
        </p:grpSpPr>
        <p:grpSp>
          <p:nvGrpSpPr>
            <p:cNvPr id="18" name="Group 17"/>
            <p:cNvGrpSpPr/>
            <p:nvPr/>
          </p:nvGrpSpPr>
          <p:grpSpPr>
            <a:xfrm>
              <a:off x="-202166" y="-277150"/>
              <a:ext cx="14832565" cy="2638230"/>
              <a:chOff x="-202166" y="-277150"/>
              <a:chExt cx="14832565" cy="2638230"/>
            </a:xfrm>
          </p:grpSpPr>
          <p:grpSp>
            <p:nvGrpSpPr>
              <p:cNvPr id="21" name="Group 20"/>
              <p:cNvGrpSpPr/>
              <p:nvPr/>
            </p:nvGrpSpPr>
            <p:grpSpPr>
              <a:xfrm flipH="1">
                <a:off x="3309692" y="-27035"/>
                <a:ext cx="11320707" cy="2146780"/>
                <a:chOff x="41560" y="-27035"/>
                <a:chExt cx="11093455" cy="2146780"/>
              </a:xfrm>
            </p:grpSpPr>
            <p:pic>
              <p:nvPicPr>
                <p:cNvPr id="23" name="Picture 2"/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xmlns="" val="0"/>
                    </a:ext>
                  </a:extLst>
                </a:blip>
                <a:stretch>
                  <a:fillRect/>
                </a:stretch>
              </p:blipFill>
              <p:spPr bwMode="auto">
                <a:xfrm>
                  <a:off x="41560" y="-27035"/>
                  <a:ext cx="9538858" cy="2138001"/>
                </a:xfrm>
                <a:prstGeom prst="rect">
                  <a:avLst/>
                </a:prstGeom>
                <a:ln>
                  <a:noFill/>
                </a:ln>
                <a:effectLst/>
              </p:spPr>
            </p:pic>
            <p:sp>
              <p:nvSpPr>
                <p:cNvPr id="24" name="Rectangle 23"/>
                <p:cNvSpPr/>
                <p:nvPr/>
              </p:nvSpPr>
              <p:spPr>
                <a:xfrm>
                  <a:off x="41560" y="0"/>
                  <a:ext cx="11093455" cy="2119745"/>
                </a:xfrm>
                <a:prstGeom prst="rect">
                  <a:avLst/>
                </a:prstGeom>
                <a:gradFill flip="none" rotWithShape="1">
                  <a:gsLst>
                    <a:gs pos="0">
                      <a:schemeClr val="accent2"/>
                    </a:gs>
                    <a:gs pos="20000">
                      <a:schemeClr val="accent2">
                        <a:alpha val="35000"/>
                      </a:schemeClr>
                    </a:gs>
                    <a:gs pos="100000">
                      <a:schemeClr val="accent2">
                        <a:alpha val="70000"/>
                      </a:schemeClr>
                    </a:gs>
                    <a:gs pos="82000">
                      <a:srgbClr val="002562"/>
                    </a:gs>
                    <a:gs pos="44000">
                      <a:schemeClr val="bg2">
                        <a:alpha val="0"/>
                      </a:schemeClr>
                    </a:gs>
                  </a:gsLst>
                  <a:lin ang="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pic>
            <p:nvPicPr>
              <p:cNvPr id="22" name="Picture 6" descr="Heads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xmlns="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202166" y="-277150"/>
                <a:ext cx="4067479" cy="26382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9" name="TextBox 18"/>
            <p:cNvSpPr txBox="1"/>
            <p:nvPr/>
          </p:nvSpPr>
          <p:spPr>
            <a:xfrm>
              <a:off x="4447212" y="598207"/>
              <a:ext cx="5700765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5400" kern="0" dirty="0">
                  <a:latin typeface="+mj-lt"/>
                  <a:ea typeface="MS PGothic" charset="0"/>
                  <a:cs typeface="Calibri" charset="0"/>
                </a:rPr>
                <a:t>Ana’s</a:t>
              </a:r>
              <a:r>
                <a:rPr lang="en-US" sz="3600" dirty="0" smtClean="0"/>
                <a:t> </a:t>
              </a:r>
              <a:r>
                <a:rPr lang="en-US" sz="5400" kern="0" dirty="0">
                  <a:solidFill>
                    <a:srgbClr val="83D1F5"/>
                  </a:solidFill>
                  <a:latin typeface="+mj-lt"/>
                  <a:ea typeface="MS PGothic" charset="0"/>
                  <a:cs typeface="Calibri" charset="0"/>
                </a:rPr>
                <a:t>Travel App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-93305" y="2110966"/>
              <a:ext cx="14782800" cy="125057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-34028" y="3989793"/>
            <a:ext cx="13290355" cy="2357438"/>
            <a:chOff x="-86508" y="2499503"/>
            <a:chExt cx="13290355" cy="2357438"/>
          </a:xfrm>
        </p:grpSpPr>
        <p:sp>
          <p:nvSpPr>
            <p:cNvPr id="28" name="Right Arrow 4"/>
            <p:cNvSpPr/>
            <p:nvPr/>
          </p:nvSpPr>
          <p:spPr bwMode="auto">
            <a:xfrm>
              <a:off x="-86508" y="2499503"/>
              <a:ext cx="12597396" cy="2357438"/>
            </a:xfrm>
            <a:custGeom>
              <a:avLst/>
              <a:gdLst>
                <a:gd name="connsiteX0" fmla="*/ 0 w 9424988"/>
                <a:gd name="connsiteY0" fmla="*/ 749288 h 2357438"/>
                <a:gd name="connsiteX1" fmla="*/ 7302752 w 9424988"/>
                <a:gd name="connsiteY1" fmla="*/ 749288 h 2357438"/>
                <a:gd name="connsiteX2" fmla="*/ 7302752 w 9424988"/>
                <a:gd name="connsiteY2" fmla="*/ 0 h 2357438"/>
                <a:gd name="connsiteX3" fmla="*/ 9424988 w 9424988"/>
                <a:gd name="connsiteY3" fmla="*/ 1178719 h 2357438"/>
                <a:gd name="connsiteX4" fmla="*/ 7302752 w 9424988"/>
                <a:gd name="connsiteY4" fmla="*/ 2357438 h 2357438"/>
                <a:gd name="connsiteX5" fmla="*/ 7302752 w 9424988"/>
                <a:gd name="connsiteY5" fmla="*/ 1608150 h 2357438"/>
                <a:gd name="connsiteX6" fmla="*/ 0 w 9424988"/>
                <a:gd name="connsiteY6" fmla="*/ 1608150 h 2357438"/>
                <a:gd name="connsiteX7" fmla="*/ 0 w 9424988"/>
                <a:gd name="connsiteY7" fmla="*/ 749288 h 2357438"/>
                <a:gd name="connsiteX0" fmla="*/ 3172408 w 12597396"/>
                <a:gd name="connsiteY0" fmla="*/ 749288 h 2357438"/>
                <a:gd name="connsiteX1" fmla="*/ 10475160 w 12597396"/>
                <a:gd name="connsiteY1" fmla="*/ 749288 h 2357438"/>
                <a:gd name="connsiteX2" fmla="*/ 10475160 w 12597396"/>
                <a:gd name="connsiteY2" fmla="*/ 0 h 2357438"/>
                <a:gd name="connsiteX3" fmla="*/ 12597396 w 12597396"/>
                <a:gd name="connsiteY3" fmla="*/ 1178719 h 2357438"/>
                <a:gd name="connsiteX4" fmla="*/ 10475160 w 12597396"/>
                <a:gd name="connsiteY4" fmla="*/ 2357438 h 2357438"/>
                <a:gd name="connsiteX5" fmla="*/ 10475160 w 12597396"/>
                <a:gd name="connsiteY5" fmla="*/ 1608150 h 2357438"/>
                <a:gd name="connsiteX6" fmla="*/ 0 w 12597396"/>
                <a:gd name="connsiteY6" fmla="*/ 1608150 h 2357438"/>
                <a:gd name="connsiteX7" fmla="*/ 3172408 w 12597396"/>
                <a:gd name="connsiteY7" fmla="*/ 749288 h 2357438"/>
                <a:gd name="connsiteX0" fmla="*/ 0 w 12597396"/>
                <a:gd name="connsiteY0" fmla="*/ 749288 h 2357438"/>
                <a:gd name="connsiteX1" fmla="*/ 10475160 w 12597396"/>
                <a:gd name="connsiteY1" fmla="*/ 749288 h 2357438"/>
                <a:gd name="connsiteX2" fmla="*/ 10475160 w 12597396"/>
                <a:gd name="connsiteY2" fmla="*/ 0 h 2357438"/>
                <a:gd name="connsiteX3" fmla="*/ 12597396 w 12597396"/>
                <a:gd name="connsiteY3" fmla="*/ 1178719 h 2357438"/>
                <a:gd name="connsiteX4" fmla="*/ 10475160 w 12597396"/>
                <a:gd name="connsiteY4" fmla="*/ 2357438 h 2357438"/>
                <a:gd name="connsiteX5" fmla="*/ 10475160 w 12597396"/>
                <a:gd name="connsiteY5" fmla="*/ 1608150 h 2357438"/>
                <a:gd name="connsiteX6" fmla="*/ 0 w 12597396"/>
                <a:gd name="connsiteY6" fmla="*/ 1608150 h 2357438"/>
                <a:gd name="connsiteX7" fmla="*/ 0 w 12597396"/>
                <a:gd name="connsiteY7" fmla="*/ 749288 h 2357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97396" h="2357438">
                  <a:moveTo>
                    <a:pt x="0" y="749288"/>
                  </a:moveTo>
                  <a:lnTo>
                    <a:pt x="10475160" y="749288"/>
                  </a:lnTo>
                  <a:lnTo>
                    <a:pt x="10475160" y="0"/>
                  </a:lnTo>
                  <a:lnTo>
                    <a:pt x="12597396" y="1178719"/>
                  </a:lnTo>
                  <a:lnTo>
                    <a:pt x="10475160" y="2357438"/>
                  </a:lnTo>
                  <a:lnTo>
                    <a:pt x="10475160" y="1608150"/>
                  </a:lnTo>
                  <a:lnTo>
                    <a:pt x="0" y="1608150"/>
                  </a:lnTo>
                  <a:lnTo>
                    <a:pt x="0" y="74928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5">
                    <a:lumMod val="50000"/>
                    <a:alpha val="80000"/>
                  </a:schemeClr>
                </a:gs>
                <a:gs pos="53000">
                  <a:schemeClr val="bg2">
                    <a:lumMod val="40000"/>
                    <a:lumOff val="60000"/>
                    <a:shade val="67500"/>
                    <a:satMod val="115000"/>
                  </a:schemeClr>
                </a:gs>
                <a:gs pos="100000">
                  <a:schemeClr val="tx2">
                    <a:lumMod val="50000"/>
                    <a:alpha val="86000"/>
                  </a:schemeClr>
                </a:gs>
              </a:gsLst>
              <a:lin ang="10800000" scaled="1"/>
              <a:tileRect/>
            </a:gradFill>
            <a:ln>
              <a:noFill/>
            </a:ln>
            <a:effectLst/>
            <a:extLst/>
          </p:spPr>
          <p:txBody>
            <a:bodyPr wrap="none" lIns="91393" tIns="45693" rIns="91393" bIns="45693" anchor="ctr"/>
            <a:lstStyle/>
            <a:p>
              <a:pPr marL="166597" indent="-166597" algn="ctr" eaLnBrk="1" hangingPunct="1">
                <a:lnSpc>
                  <a:spcPct val="90000"/>
                </a:lnSpc>
                <a:spcBef>
                  <a:spcPct val="50000"/>
                </a:spcBef>
                <a:defRPr/>
              </a:pPr>
              <a:endParaRPr lang="en-US" sz="1600" b="1" dirty="0">
                <a:solidFill>
                  <a:srgbClr val="003F69"/>
                </a:solidFill>
                <a:latin typeface="Arial" charset="0"/>
                <a:ea typeface="ＭＳ Ｐゴシック"/>
                <a:cs typeface="Arial" panose="020B0604020202020204" pitchFamily="34" charset="0"/>
              </a:endParaRPr>
            </a:p>
          </p:txBody>
        </p:sp>
        <p:grpSp>
          <p:nvGrpSpPr>
            <p:cNvPr id="29" name="Group 28"/>
            <p:cNvGrpSpPr/>
            <p:nvPr/>
          </p:nvGrpSpPr>
          <p:grpSpPr>
            <a:xfrm>
              <a:off x="2109232" y="3140926"/>
              <a:ext cx="11094615" cy="923330"/>
              <a:chOff x="2109232" y="3140926"/>
              <a:chExt cx="11094615" cy="923330"/>
            </a:xfrm>
          </p:grpSpPr>
          <p:sp>
            <p:nvSpPr>
              <p:cNvPr id="30" name="TextBox 29"/>
              <p:cNvSpPr txBox="1"/>
              <p:nvPr/>
            </p:nvSpPr>
            <p:spPr>
              <a:xfrm>
                <a:off x="2109232" y="3140926"/>
                <a:ext cx="11094615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5400" b="1" dirty="0"/>
                  <a:t>Intelligence</a:t>
                </a:r>
                <a:r>
                  <a:rPr lang="en-US" sz="5400" b="1" dirty="0" smtClean="0">
                    <a:solidFill>
                      <a:srgbClr val="FFC000"/>
                    </a:solidFill>
                  </a:rPr>
                  <a:t>        </a:t>
                </a:r>
                <a:r>
                  <a:rPr lang="en-US" sz="5400" b="1" dirty="0"/>
                  <a:t>Cognitive</a:t>
                </a:r>
              </a:p>
            </p:txBody>
          </p:sp>
          <p:cxnSp>
            <p:nvCxnSpPr>
              <p:cNvPr id="31" name="Straight Arrow Connector 30"/>
              <p:cNvCxnSpPr/>
              <p:nvPr/>
            </p:nvCxnSpPr>
            <p:spPr>
              <a:xfrm flipV="1">
                <a:off x="6189588" y="3661581"/>
                <a:ext cx="1154998" cy="16641"/>
              </a:xfrm>
              <a:prstGeom prst="straightConnector1">
                <a:avLst/>
              </a:prstGeom>
              <a:ln w="127000">
                <a:solidFill>
                  <a:srgbClr val="FFC000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xmlns="" val="313227257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AsOne/>
      </p:bldGraphic>
      <p:bldP spid="13" grpId="0" animBg="1"/>
      <p:bldP spid="14" grpId="0" animBg="1"/>
      <p:bldP spid="10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21" name="Picture 3" descr="H:\transfer\capa-baixa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" r="-140"/>
          <a:stretch>
            <a:fillRect/>
          </a:stretch>
        </p:blipFill>
        <p:spPr bwMode="auto">
          <a:xfrm>
            <a:off x="0" y="0"/>
            <a:ext cx="14630399" cy="822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1" y="1"/>
            <a:ext cx="8932862" cy="1451610"/>
          </a:xfrm>
          <a:prstGeom prst="rect">
            <a:avLst/>
          </a:prstGeom>
          <a:gradFill flip="none" rotWithShape="1">
            <a:gsLst>
              <a:gs pos="32000">
                <a:schemeClr val="tx1">
                  <a:lumMod val="90000"/>
                  <a:lumOff val="10000"/>
                  <a:alpha val="83000"/>
                </a:schemeClr>
              </a:gs>
              <a:gs pos="89000">
                <a:schemeClr val="tx1">
                  <a:lumMod val="90000"/>
                  <a:lumOff val="10000"/>
                  <a:alpha val="0"/>
                </a:schemeClr>
              </a:gs>
              <a:gs pos="65000">
                <a:schemeClr val="tx1">
                  <a:lumMod val="90000"/>
                  <a:lumOff val="10000"/>
                  <a:alpha val="7600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15" tIns="65308" rIns="130615" bIns="65308" anchor="ctr"/>
          <a:lstStyle/>
          <a:p>
            <a:pPr algn="ctr" defTabSz="6530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900">
              <a:solidFill>
                <a:prstClr val="white"/>
              </a:solidFill>
              <a:latin typeface="Raleway" panose="020B0003030101060003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3852153"/>
            <a:ext cx="10525328" cy="4377447"/>
          </a:xfrm>
          <a:prstGeom prst="rect">
            <a:avLst/>
          </a:prstGeom>
          <a:gradFill flip="none" rotWithShape="1">
            <a:gsLst>
              <a:gs pos="32000">
                <a:schemeClr val="tx1">
                  <a:lumMod val="90000"/>
                  <a:lumOff val="10000"/>
                  <a:alpha val="83000"/>
                </a:schemeClr>
              </a:gs>
              <a:gs pos="89000">
                <a:schemeClr val="tx1">
                  <a:lumMod val="90000"/>
                  <a:lumOff val="10000"/>
                  <a:alpha val="0"/>
                </a:schemeClr>
              </a:gs>
              <a:gs pos="65000">
                <a:schemeClr val="tx1">
                  <a:lumMod val="90000"/>
                  <a:lumOff val="10000"/>
                  <a:alpha val="7600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15" tIns="65308" rIns="130615" bIns="65308" anchor="ctr"/>
          <a:lstStyle/>
          <a:p>
            <a:pPr algn="ctr" defTabSz="653077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900">
              <a:solidFill>
                <a:prstClr val="white"/>
              </a:solidFill>
              <a:latin typeface="Raleway" panose="020B0003030101060003" pitchFamily="34" charset="0"/>
            </a:endParaRPr>
          </a:p>
        </p:txBody>
      </p:sp>
      <p:sp>
        <p:nvSpPr>
          <p:cNvPr id="133128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665024" y="3987200"/>
            <a:ext cx="7970838" cy="1322388"/>
          </a:xfrm>
          <a:prstGeom prst="rect">
            <a:avLst/>
          </a:prstGeom>
        </p:spPr>
        <p:txBody>
          <a:bodyPr/>
          <a:lstStyle/>
          <a:p>
            <a:pPr marL="0" indent="0" eaLnBrk="1" hangingPunct="1">
              <a:lnSpc>
                <a:spcPct val="100000"/>
              </a:lnSpc>
            </a:pPr>
            <a:r>
              <a:rPr lang="en-US" altLang="en-US" sz="5400" b="1" dirty="0" smtClean="0">
                <a:solidFill>
                  <a:srgbClr val="FFC000"/>
                </a:solidFill>
                <a:latin typeface="Lubalin Demi for IBM" pitchFamily="1" charset="0"/>
                <a:ea typeface="ＭＳ Ｐゴシック" pitchFamily="34" charset="-128"/>
              </a:rPr>
              <a:t>Experience in </a:t>
            </a:r>
            <a:r>
              <a:rPr lang="en-US" altLang="en-US" sz="7100" b="1" i="1" dirty="0" smtClean="0">
                <a:latin typeface="Lubalin Demi for IBM" pitchFamily="1" charset="0"/>
                <a:ea typeface="ＭＳ Ｐゴシック" pitchFamily="34" charset="-128"/>
              </a:rPr>
              <a:t>Motion</a:t>
            </a:r>
          </a:p>
        </p:txBody>
      </p:sp>
      <p:pic>
        <p:nvPicPr>
          <p:cNvPr id="133132" name="Picture 8" descr="IBM logo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6600" y="540327"/>
            <a:ext cx="946727" cy="362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39" name="TextBox 15"/>
          <p:cNvSpPr txBox="1">
            <a:spLocks noChangeArrowheads="1"/>
          </p:cNvSpPr>
          <p:nvPr/>
        </p:nvSpPr>
        <p:spPr bwMode="auto">
          <a:xfrm>
            <a:off x="-45248513" y="4792663"/>
            <a:ext cx="12076315" cy="2200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13700">
                <a:solidFill>
                  <a:srgbClr val="92D050"/>
                </a:solidFill>
                <a:latin typeface="Calibri" pitchFamily="34" charset="0"/>
                <a:cs typeface="Arial" pitchFamily="34" charset="0"/>
              </a:rPr>
              <a:t>Design</a:t>
            </a:r>
            <a:r>
              <a:rPr lang="en-US" altLang="en-US" sz="10300">
                <a:solidFill>
                  <a:srgbClr val="92D050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en-US" altLang="en-US" sz="9400">
                <a:solidFill>
                  <a:srgbClr val="92D050"/>
                </a:solidFill>
                <a:latin typeface="Calibri" pitchFamily="34" charset="0"/>
                <a:cs typeface="Arial" pitchFamily="34" charset="0"/>
              </a:rPr>
              <a:t>in </a:t>
            </a:r>
            <a:r>
              <a:rPr lang="en-US" altLang="en-US" sz="9400" i="1">
                <a:solidFill>
                  <a:srgbClr val="92D050"/>
                </a:solidFill>
                <a:latin typeface="Calibri" pitchFamily="34" charset="0"/>
                <a:cs typeface="Arial" pitchFamily="34" charset="0"/>
              </a:rPr>
              <a:t>Motion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431807" y="5001158"/>
            <a:ext cx="4034625" cy="1471613"/>
            <a:chOff x="431807" y="5623718"/>
            <a:chExt cx="4034625" cy="1471613"/>
          </a:xfrm>
        </p:grpSpPr>
        <p:sp>
          <p:nvSpPr>
            <p:cNvPr id="16" name="Text Placeholder 16"/>
            <p:cNvSpPr txBox="1">
              <a:spLocks/>
            </p:cNvSpPr>
            <p:nvPr/>
          </p:nvSpPr>
          <p:spPr bwMode="auto">
            <a:xfrm>
              <a:off x="431807" y="5623718"/>
              <a:ext cx="4034625" cy="788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30615" tIns="65308" rIns="130615" bIns="65308"/>
            <a:lstStyle>
              <a:lvl1pPr marL="15240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1304925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1304925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1304925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1304925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lnSpc>
                  <a:spcPts val="6000"/>
                </a:lnSpc>
                <a:buFont typeface="Wingdings" pitchFamily="2" charset="2"/>
                <a:buNone/>
              </a:pPr>
              <a:r>
                <a:rPr lang="en-US" altLang="en-US" sz="3200" b="1" dirty="0">
                  <a:solidFill>
                    <a:prstClr val="white"/>
                  </a:solidFill>
                  <a:latin typeface="Lubalin Demi for IBM" pitchFamily="1" charset="0"/>
                </a:rPr>
                <a:t>A</a:t>
              </a:r>
              <a:r>
                <a:rPr lang="en-US" altLang="en-US" sz="3200" b="1" dirty="0" smtClean="0">
                  <a:solidFill>
                    <a:prstClr val="white"/>
                  </a:solidFill>
                  <a:latin typeface="Lubalin Demi for IBM" pitchFamily="1" charset="0"/>
                </a:rPr>
                <a:t>na Paula </a:t>
              </a:r>
              <a:r>
                <a:rPr lang="en-US" altLang="en-US" sz="3200" b="1" dirty="0" err="1">
                  <a:solidFill>
                    <a:prstClr val="white"/>
                  </a:solidFill>
                  <a:latin typeface="Lubalin Demi for IBM" pitchFamily="1" charset="0"/>
                </a:rPr>
                <a:t>A</a:t>
              </a:r>
              <a:r>
                <a:rPr lang="en-US" altLang="en-US" sz="3200" b="1" dirty="0" err="1" smtClean="0">
                  <a:solidFill>
                    <a:prstClr val="white"/>
                  </a:solidFill>
                  <a:latin typeface="Lubalin Demi for IBM" pitchFamily="1" charset="0"/>
                </a:rPr>
                <a:t>ssis</a:t>
              </a:r>
              <a:endParaRPr lang="pt-BR" altLang="en-US" sz="1800" b="1" dirty="0">
                <a:solidFill>
                  <a:prstClr val="white"/>
                </a:solidFill>
                <a:latin typeface="Lubalin Demi for IBM" pitchFamily="1" charset="0"/>
              </a:endParaRPr>
            </a:p>
          </p:txBody>
        </p:sp>
        <p:sp>
          <p:nvSpPr>
            <p:cNvPr id="17" name="Text Placeholder 16"/>
            <p:cNvSpPr txBox="1">
              <a:spLocks/>
            </p:cNvSpPr>
            <p:nvPr/>
          </p:nvSpPr>
          <p:spPr bwMode="auto">
            <a:xfrm>
              <a:off x="434371" y="6377781"/>
              <a:ext cx="3635605" cy="717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30615" tIns="65308" rIns="130615" bIns="65308"/>
            <a:lstStyle>
              <a:lvl1pPr marL="15240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1304925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1304925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1304925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1304925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pt-BR" altLang="en-US" sz="1900" b="1" dirty="0">
                  <a:solidFill>
                    <a:srgbClr val="00443D">
                      <a:lumMod val="25000"/>
                      <a:lumOff val="75000"/>
                    </a:srgbClr>
                  </a:solidFill>
                  <a:latin typeface="Lubalin Demi for IBM" pitchFamily="1" charset="0"/>
                  <a:cs typeface="Arial" pitchFamily="34" charset="0"/>
                </a:rPr>
                <a:t>V</a:t>
              </a:r>
              <a:r>
                <a:rPr lang="pt-BR" altLang="en-US" sz="1900" b="1" dirty="0" smtClean="0">
                  <a:solidFill>
                    <a:srgbClr val="00443D">
                      <a:lumMod val="25000"/>
                      <a:lumOff val="75000"/>
                    </a:srgbClr>
                  </a:solidFill>
                  <a:latin typeface="Lubalin Demi for IBM" pitchFamily="1" charset="0"/>
                  <a:cs typeface="Arial" pitchFamily="34" charset="0"/>
                </a:rPr>
                <a:t>ice </a:t>
              </a:r>
              <a:r>
                <a:rPr lang="pt-BR" altLang="en-US" sz="1900" b="1" dirty="0" err="1" smtClean="0">
                  <a:solidFill>
                    <a:srgbClr val="00443D">
                      <a:lumMod val="25000"/>
                      <a:lumOff val="75000"/>
                    </a:srgbClr>
                  </a:solidFill>
                  <a:latin typeface="Lubalin Demi for IBM" pitchFamily="1" charset="0"/>
                  <a:cs typeface="Arial" pitchFamily="34" charset="0"/>
                </a:rPr>
                <a:t>President</a:t>
              </a:r>
              <a:r>
                <a:rPr lang="pt-BR" altLang="en-US" sz="1900" b="1" dirty="0">
                  <a:solidFill>
                    <a:srgbClr val="00443D">
                      <a:lumMod val="25000"/>
                      <a:lumOff val="75000"/>
                    </a:srgbClr>
                  </a:solidFill>
                  <a:latin typeface="Lubalin Demi for IBM" pitchFamily="1" charset="0"/>
                  <a:cs typeface="Arial" pitchFamily="34" charset="0"/>
                </a:rPr>
                <a:t/>
              </a:r>
              <a:br>
                <a:rPr lang="pt-BR" altLang="en-US" sz="1900" b="1" dirty="0">
                  <a:solidFill>
                    <a:srgbClr val="00443D">
                      <a:lumMod val="25000"/>
                      <a:lumOff val="75000"/>
                    </a:srgbClr>
                  </a:solidFill>
                  <a:latin typeface="Lubalin Demi for IBM" pitchFamily="1" charset="0"/>
                  <a:cs typeface="Arial" pitchFamily="34" charset="0"/>
                </a:rPr>
              </a:br>
              <a:r>
                <a:rPr lang="pt-BR" altLang="en-US" sz="1900" b="1" dirty="0">
                  <a:solidFill>
                    <a:srgbClr val="00443D">
                      <a:lumMod val="25000"/>
                      <a:lumOff val="75000"/>
                    </a:srgbClr>
                  </a:solidFill>
                  <a:latin typeface="Lubalin Demi for IBM" pitchFamily="1" charset="0"/>
                  <a:cs typeface="Arial" pitchFamily="34" charset="0"/>
                </a:rPr>
                <a:t>S</a:t>
              </a:r>
              <a:r>
                <a:rPr lang="pt-BR" altLang="en-US" sz="1900" b="1" dirty="0" smtClean="0">
                  <a:solidFill>
                    <a:srgbClr val="00443D">
                      <a:lumMod val="25000"/>
                      <a:lumOff val="75000"/>
                    </a:srgbClr>
                  </a:solidFill>
                  <a:latin typeface="Lubalin Demi for IBM" pitchFamily="1" charset="0"/>
                  <a:cs typeface="Arial" pitchFamily="34" charset="0"/>
                </a:rPr>
                <a:t>oftware </a:t>
              </a:r>
              <a:r>
                <a:rPr lang="pt-BR" altLang="en-US" sz="1900" b="1" dirty="0" err="1" smtClean="0">
                  <a:solidFill>
                    <a:srgbClr val="00443D">
                      <a:lumMod val="25000"/>
                      <a:lumOff val="75000"/>
                    </a:srgbClr>
                  </a:solidFill>
                  <a:latin typeface="Lubalin Demi for IBM" pitchFamily="1" charset="0"/>
                  <a:cs typeface="Arial" pitchFamily="34" charset="0"/>
                </a:rPr>
                <a:t>Group</a:t>
              </a:r>
              <a:r>
                <a:rPr lang="pt-BR" altLang="en-US" sz="1900" b="1" dirty="0" smtClean="0">
                  <a:solidFill>
                    <a:srgbClr val="00443D">
                      <a:lumMod val="25000"/>
                      <a:lumOff val="75000"/>
                    </a:srgbClr>
                  </a:solidFill>
                  <a:latin typeface="Lubalin Demi for IBM" pitchFamily="1" charset="0"/>
                  <a:cs typeface="Arial" pitchFamily="34" charset="0"/>
                </a:rPr>
                <a:t> </a:t>
              </a:r>
              <a:r>
                <a:rPr lang="pt-BR" altLang="en-US" sz="1900" b="1" dirty="0" err="1" smtClean="0">
                  <a:solidFill>
                    <a:srgbClr val="00443D">
                      <a:lumMod val="25000"/>
                      <a:lumOff val="75000"/>
                    </a:srgbClr>
                  </a:solidFill>
                  <a:latin typeface="Lubalin Demi for IBM" pitchFamily="1" charset="0"/>
                  <a:cs typeface="Arial" pitchFamily="34" charset="0"/>
                </a:rPr>
                <a:t>Brazil</a:t>
              </a:r>
              <a:endParaRPr lang="pt-BR" altLang="en-US" sz="1900" b="1" dirty="0">
                <a:solidFill>
                  <a:srgbClr val="00443D">
                    <a:lumMod val="25000"/>
                    <a:lumOff val="75000"/>
                  </a:srgbClr>
                </a:solidFill>
                <a:latin typeface="Lubalin Demi for IBM" pitchFamily="1" charset="0"/>
                <a:cs typeface="Arial" pitchFamily="34" charset="0"/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4330247" y="5012861"/>
            <a:ext cx="4518659" cy="1348741"/>
            <a:chOff x="10182292" y="-164653"/>
            <a:chExt cx="4518659" cy="1348741"/>
          </a:xfrm>
        </p:grpSpPr>
        <p:sp>
          <p:nvSpPr>
            <p:cNvPr id="19" name="Text Placeholder 16"/>
            <p:cNvSpPr txBox="1">
              <a:spLocks/>
            </p:cNvSpPr>
            <p:nvPr/>
          </p:nvSpPr>
          <p:spPr bwMode="auto">
            <a:xfrm>
              <a:off x="10188958" y="-164653"/>
              <a:ext cx="4339987" cy="7264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30614" tIns="65309" rIns="130614" bIns="65309"/>
            <a:lstStyle>
              <a:lvl1pPr marL="15240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1304925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1304925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1304925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1304925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lnSpc>
                  <a:spcPts val="6000"/>
                </a:lnSpc>
                <a:defRPr/>
              </a:pPr>
              <a:r>
                <a:rPr lang="en-US" altLang="en-US" sz="3200" b="1" dirty="0">
                  <a:solidFill>
                    <a:prstClr val="white"/>
                  </a:solidFill>
                  <a:latin typeface="Lubalin Demi for IBM" pitchFamily="1" charset="0"/>
                </a:rPr>
                <a:t>Alejandro </a:t>
              </a:r>
              <a:r>
                <a:rPr lang="en-US" altLang="en-US" sz="3200" b="1" dirty="0" err="1">
                  <a:solidFill>
                    <a:prstClr val="white"/>
                  </a:solidFill>
                  <a:latin typeface="Lubalin Demi for IBM" pitchFamily="1" charset="0"/>
                </a:rPr>
                <a:t>Padron</a:t>
              </a:r>
              <a:endParaRPr lang="pt-BR" altLang="en-US" sz="1800" b="1" dirty="0">
                <a:solidFill>
                  <a:prstClr val="white"/>
                </a:solidFill>
                <a:latin typeface="Lubalin Demi for IBM" pitchFamily="1" charset="0"/>
              </a:endParaRPr>
            </a:p>
          </p:txBody>
        </p:sp>
        <p:sp>
          <p:nvSpPr>
            <p:cNvPr id="20" name="Text Placeholder 16"/>
            <p:cNvSpPr txBox="1">
              <a:spLocks/>
            </p:cNvSpPr>
            <p:nvPr/>
          </p:nvSpPr>
          <p:spPr bwMode="auto">
            <a:xfrm>
              <a:off x="10182292" y="610048"/>
              <a:ext cx="4518659" cy="5740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30614" tIns="65309" rIns="130614" bIns="65309"/>
            <a:lstStyle>
              <a:lvl1pPr marL="152400" defTabSz="1304925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cs typeface="ＭＳ Ｐゴシック" charset="0"/>
                  <a:sym typeface="Helvetica Neue" charset="0"/>
                </a:defRPr>
              </a:lvl1pPr>
              <a:lvl2pPr marL="742950" indent="-285750" defTabSz="1304925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2pPr>
              <a:lvl3pPr marL="1143000" indent="-228600" defTabSz="1304925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3pPr>
              <a:lvl4pPr marL="1600200" indent="-228600" defTabSz="1304925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4pPr>
              <a:lvl5pPr marL="2057400" indent="-228600" defTabSz="1304925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5pPr>
              <a:lvl6pPr marL="2514600" indent="-228600" defTabSz="13049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6pPr>
              <a:lvl7pPr marL="2971800" indent="-228600" defTabSz="13049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7pPr>
              <a:lvl8pPr marL="3429000" indent="-228600" defTabSz="13049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8pPr>
              <a:lvl9pPr marL="3886200" indent="-228600" defTabSz="13049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9pPr>
            </a:lstStyle>
            <a:p>
              <a:pPr eaLnBrk="1" hangingPunct="1"/>
              <a:r>
                <a:rPr lang="pt-BR" sz="1900" b="1" dirty="0">
                  <a:solidFill>
                    <a:srgbClr val="00443D">
                      <a:lumMod val="25000"/>
                      <a:lumOff val="75000"/>
                    </a:srgbClr>
                  </a:solidFill>
                  <a:latin typeface="Lubalin Demi for IBM" charset="0"/>
                  <a:cs typeface="Arial" charset="0"/>
                </a:rPr>
                <a:t>LA </a:t>
              </a:r>
              <a:r>
                <a:rPr lang="pt-BR" sz="1900" b="1" dirty="0" err="1">
                  <a:solidFill>
                    <a:srgbClr val="00443D">
                      <a:lumMod val="25000"/>
                      <a:lumOff val="75000"/>
                    </a:srgbClr>
                  </a:solidFill>
                  <a:latin typeface="Lubalin Demi for IBM" charset="0"/>
                  <a:cs typeface="Arial" charset="0"/>
                </a:rPr>
                <a:t>Retail</a:t>
              </a:r>
              <a:r>
                <a:rPr lang="pt-BR" sz="1900" b="1" dirty="0">
                  <a:solidFill>
                    <a:srgbClr val="00443D">
                      <a:lumMod val="25000"/>
                      <a:lumOff val="75000"/>
                    </a:srgbClr>
                  </a:solidFill>
                  <a:latin typeface="Lubalin Demi for IBM" charset="0"/>
                  <a:cs typeface="Arial" charset="0"/>
                </a:rPr>
                <a:t> </a:t>
              </a:r>
              <a:r>
                <a:rPr lang="pt-BR" sz="1900" b="1" dirty="0" err="1">
                  <a:solidFill>
                    <a:srgbClr val="00443D">
                      <a:lumMod val="25000"/>
                      <a:lumOff val="75000"/>
                    </a:srgbClr>
                  </a:solidFill>
                  <a:latin typeface="Lubalin Demi for IBM" charset="0"/>
                  <a:cs typeface="Arial" charset="0"/>
                </a:rPr>
                <a:t>Leader</a:t>
              </a:r>
              <a:endParaRPr lang="pt-BR" sz="1900" b="1" dirty="0">
                <a:solidFill>
                  <a:srgbClr val="00443D">
                    <a:lumMod val="25000"/>
                    <a:lumOff val="75000"/>
                  </a:srgbClr>
                </a:solidFill>
                <a:latin typeface="Lubalin Demi for IBM" charset="0"/>
                <a:cs typeface="Arial" charset="0"/>
              </a:endParaRPr>
            </a:p>
            <a:p>
              <a:pPr eaLnBrk="1" hangingPunct="1"/>
              <a:r>
                <a:rPr lang="pt-BR" sz="1900" b="1" dirty="0" err="1">
                  <a:solidFill>
                    <a:srgbClr val="00443D">
                      <a:lumMod val="25000"/>
                      <a:lumOff val="75000"/>
                    </a:srgbClr>
                  </a:solidFill>
                  <a:latin typeface="Lubalin Demi for IBM" charset="0"/>
                  <a:cs typeface="Arial" charset="0"/>
                </a:rPr>
                <a:t>Industry</a:t>
              </a:r>
              <a:r>
                <a:rPr lang="pt-BR" sz="1900" b="1" dirty="0">
                  <a:solidFill>
                    <a:srgbClr val="00443D">
                      <a:lumMod val="25000"/>
                      <a:lumOff val="75000"/>
                    </a:srgbClr>
                  </a:solidFill>
                  <a:latin typeface="Lubalin Demi for IBM" charset="0"/>
                  <a:cs typeface="Arial" charset="0"/>
                </a:rPr>
                <a:t> </a:t>
              </a:r>
              <a:r>
                <a:rPr lang="pt-BR" sz="1900" b="1" dirty="0" err="1">
                  <a:solidFill>
                    <a:srgbClr val="00443D">
                      <a:lumMod val="25000"/>
                      <a:lumOff val="75000"/>
                    </a:srgbClr>
                  </a:solidFill>
                  <a:latin typeface="Lubalin Demi for IBM" charset="0"/>
                  <a:cs typeface="Arial" charset="0"/>
                </a:rPr>
                <a:t>Solutions</a:t>
              </a:r>
              <a:endParaRPr lang="pt-BR" sz="1900" b="1" dirty="0">
                <a:solidFill>
                  <a:srgbClr val="00443D">
                    <a:lumMod val="25000"/>
                    <a:lumOff val="75000"/>
                  </a:srgbClr>
                </a:solidFill>
                <a:latin typeface="Lubalin Demi for IBM" charset="0"/>
                <a:cs typeface="Arial" charset="0"/>
              </a:endParaRPr>
            </a:p>
          </p:txBody>
        </p:sp>
      </p:grpSp>
      <p:cxnSp>
        <p:nvCxnSpPr>
          <p:cNvPr id="7" name="Straight Connector 6"/>
          <p:cNvCxnSpPr/>
          <p:nvPr/>
        </p:nvCxnSpPr>
        <p:spPr>
          <a:xfrm>
            <a:off x="4241260" y="5376081"/>
            <a:ext cx="0" cy="1096690"/>
          </a:xfrm>
          <a:prstGeom prst="line">
            <a:avLst/>
          </a:prstGeom>
          <a:ln>
            <a:prstDash val="sys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/>
        </p:nvGrpSpPr>
        <p:grpSpPr>
          <a:xfrm>
            <a:off x="386410" y="6680167"/>
            <a:ext cx="4733925" cy="1471613"/>
            <a:chOff x="10024895" y="-63500"/>
            <a:chExt cx="4733925" cy="1471613"/>
          </a:xfrm>
        </p:grpSpPr>
        <p:sp>
          <p:nvSpPr>
            <p:cNvPr id="25" name="Text Placeholder 16"/>
            <p:cNvSpPr txBox="1">
              <a:spLocks/>
            </p:cNvSpPr>
            <p:nvPr/>
          </p:nvSpPr>
          <p:spPr bwMode="auto">
            <a:xfrm>
              <a:off x="10024895" y="-63500"/>
              <a:ext cx="4733925" cy="788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30602" tIns="65302" rIns="130602" bIns="65302"/>
            <a:lstStyle>
              <a:lvl1pPr marL="15240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1304925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1304925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1304925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1304925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>
                <a:lnSpc>
                  <a:spcPts val="6000"/>
                </a:lnSpc>
              </a:pPr>
              <a:r>
                <a:rPr lang="en-US" altLang="en-US" sz="3100" b="1" dirty="0">
                  <a:solidFill>
                    <a:prstClr val="white"/>
                  </a:solidFill>
                  <a:latin typeface="Lubalin Demi for IBM" pitchFamily="1" charset="0"/>
                </a:rPr>
                <a:t>Felipe </a:t>
              </a:r>
              <a:r>
                <a:rPr lang="en-US" altLang="en-US" sz="3100" b="1" dirty="0" err="1">
                  <a:solidFill>
                    <a:prstClr val="white"/>
                  </a:solidFill>
                  <a:latin typeface="Lubalin Demi for IBM" pitchFamily="1" charset="0"/>
                </a:rPr>
                <a:t>Peñaranda</a:t>
              </a:r>
              <a:endParaRPr lang="pt-BR" altLang="en-US" sz="1900" b="1" dirty="0">
                <a:solidFill>
                  <a:prstClr val="white"/>
                </a:solidFill>
                <a:latin typeface="Lubalin Demi for IBM" pitchFamily="1" charset="0"/>
              </a:endParaRPr>
            </a:p>
          </p:txBody>
        </p:sp>
        <p:sp>
          <p:nvSpPr>
            <p:cNvPr id="26" name="Text Placeholder 16"/>
            <p:cNvSpPr txBox="1">
              <a:spLocks/>
            </p:cNvSpPr>
            <p:nvPr/>
          </p:nvSpPr>
          <p:spPr bwMode="auto">
            <a:xfrm>
              <a:off x="10045385" y="690563"/>
              <a:ext cx="4692650" cy="717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30602" tIns="65302" rIns="130602" bIns="65302"/>
            <a:lstStyle>
              <a:lvl1pPr marL="15240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1304925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1304925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1304925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1304925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pt-BR" altLang="en-US" sz="1900" b="1" dirty="0">
                  <a:solidFill>
                    <a:srgbClr val="00443D">
                      <a:lumMod val="25000"/>
                      <a:lumOff val="75000"/>
                    </a:srgbClr>
                  </a:solidFill>
                  <a:latin typeface="Lubalin Demi for IBM" pitchFamily="1" charset="0"/>
                  <a:cs typeface="Arial" pitchFamily="34" charset="0"/>
                </a:rPr>
                <a:t>LA Security Tiger Team </a:t>
              </a:r>
              <a:r>
                <a:rPr lang="pt-BR" altLang="en-US" sz="1900" b="1" dirty="0" err="1">
                  <a:solidFill>
                    <a:srgbClr val="00443D">
                      <a:lumMod val="25000"/>
                      <a:lumOff val="75000"/>
                    </a:srgbClr>
                  </a:solidFill>
                  <a:latin typeface="Lubalin Demi for IBM" pitchFamily="1" charset="0"/>
                  <a:cs typeface="Arial" pitchFamily="34" charset="0"/>
                </a:rPr>
                <a:t>Leader</a:t>
              </a:r>
              <a:endParaRPr lang="pt-BR" altLang="en-US" sz="1900" b="1" dirty="0">
                <a:solidFill>
                  <a:srgbClr val="00443D">
                    <a:lumMod val="25000"/>
                    <a:lumOff val="75000"/>
                  </a:srgbClr>
                </a:solidFill>
                <a:latin typeface="Lubalin Demi for IBM" pitchFamily="1" charset="0"/>
                <a:cs typeface="Arial" pitchFamily="34" charset="0"/>
              </a:endParaRP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10601422" y="-29634"/>
            <a:ext cx="3951157" cy="1471613"/>
            <a:chOff x="10679242" y="-29634"/>
            <a:chExt cx="4733925" cy="1471613"/>
          </a:xfrm>
        </p:grpSpPr>
        <p:sp>
          <p:nvSpPr>
            <p:cNvPr id="30" name="Text Placeholder 16"/>
            <p:cNvSpPr txBox="1">
              <a:spLocks/>
            </p:cNvSpPr>
            <p:nvPr/>
          </p:nvSpPr>
          <p:spPr bwMode="auto">
            <a:xfrm>
              <a:off x="10679242" y="-29634"/>
              <a:ext cx="4733925" cy="788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30615" tIns="65308" rIns="130615" bIns="65308"/>
            <a:lstStyle>
              <a:lvl1pPr marL="15240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1304925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1304925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1304925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1304925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lnSpc>
                  <a:spcPts val="6000"/>
                </a:lnSpc>
                <a:buFont typeface="Wingdings" pitchFamily="2" charset="2"/>
                <a:buNone/>
              </a:pPr>
              <a:r>
                <a:rPr lang="en-US" altLang="en-US" sz="3400" b="1" dirty="0" err="1">
                  <a:solidFill>
                    <a:srgbClr val="0050A6"/>
                  </a:solidFill>
                  <a:latin typeface="Lubalin Demi for IBM" pitchFamily="1" charset="0"/>
                </a:rPr>
                <a:t>V</a:t>
              </a:r>
              <a:r>
                <a:rPr lang="en-US" altLang="en-US" sz="3400" b="1" dirty="0" err="1" smtClean="0">
                  <a:solidFill>
                    <a:srgbClr val="0050A6"/>
                  </a:solidFill>
                  <a:latin typeface="Lubalin Demi for IBM" pitchFamily="1" charset="0"/>
                </a:rPr>
                <a:t>ania</a:t>
              </a:r>
              <a:r>
                <a:rPr lang="en-US" altLang="en-US" sz="3400" b="1" dirty="0" smtClean="0">
                  <a:solidFill>
                    <a:srgbClr val="0050A6"/>
                  </a:solidFill>
                  <a:latin typeface="Lubalin Demi for IBM" pitchFamily="1" charset="0"/>
                </a:rPr>
                <a:t> </a:t>
              </a:r>
              <a:r>
                <a:rPr lang="en-US" altLang="en-US" sz="3400" b="1" dirty="0" err="1" smtClean="0">
                  <a:solidFill>
                    <a:srgbClr val="0050A6"/>
                  </a:solidFill>
                  <a:latin typeface="Lubalin Demi for IBM" pitchFamily="1" charset="0"/>
                </a:rPr>
                <a:t>Curiati</a:t>
              </a:r>
              <a:endParaRPr lang="pt-BR" altLang="en-US" sz="3400" b="1" dirty="0">
                <a:solidFill>
                  <a:srgbClr val="0050A6"/>
                </a:solidFill>
                <a:latin typeface="Lubalin Demi for IBM" pitchFamily="1" charset="0"/>
              </a:endParaRPr>
            </a:p>
          </p:txBody>
        </p:sp>
        <p:sp>
          <p:nvSpPr>
            <p:cNvPr id="31" name="Text Placeholder 16"/>
            <p:cNvSpPr txBox="1">
              <a:spLocks/>
            </p:cNvSpPr>
            <p:nvPr/>
          </p:nvSpPr>
          <p:spPr bwMode="auto">
            <a:xfrm>
              <a:off x="10699735" y="724429"/>
              <a:ext cx="3930665" cy="717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30615" tIns="65308" rIns="130615" bIns="65308"/>
            <a:lstStyle>
              <a:lvl1pPr marL="15240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1304925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1304925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1304925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1304925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1304925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pt-BR" altLang="en-US" sz="1900" b="1" dirty="0" smtClean="0">
                  <a:solidFill>
                    <a:srgbClr val="001934"/>
                  </a:solidFill>
                  <a:latin typeface="Lubalin Demi for IBM" pitchFamily="1" charset="0"/>
                  <a:cs typeface="Arial" pitchFamily="34" charset="0"/>
                </a:rPr>
                <a:t>Diretora</a:t>
              </a:r>
            </a:p>
            <a:p>
              <a:pPr eaLnBrk="1" hangingPunct="1"/>
              <a:r>
                <a:rPr lang="pt-BR" altLang="en-US" sz="1900" b="1" dirty="0" smtClean="0">
                  <a:solidFill>
                    <a:srgbClr val="001934"/>
                  </a:solidFill>
                  <a:latin typeface="Lubalin Demi for IBM" pitchFamily="1" charset="0"/>
                  <a:cs typeface="Arial" pitchFamily="34" charset="0"/>
                </a:rPr>
                <a:t>Business Partner Brazil</a:t>
              </a:r>
              <a:endParaRPr lang="pt-BR" altLang="en-US" sz="1900" b="1" dirty="0">
                <a:solidFill>
                  <a:srgbClr val="001934"/>
                </a:solidFill>
                <a:latin typeface="Lubalin Demi for IBM" pitchFamily="1" charset="0"/>
                <a:cs typeface="Arial" pitchFamily="34" charset="0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13383466" y="6987331"/>
            <a:ext cx="944827" cy="944827"/>
            <a:chOff x="6223001" y="3048048"/>
            <a:chExt cx="1371984" cy="1371984"/>
          </a:xfrm>
        </p:grpSpPr>
        <p:sp>
          <p:nvSpPr>
            <p:cNvPr id="22" name="Oval 21"/>
            <p:cNvSpPr/>
            <p:nvPr/>
          </p:nvSpPr>
          <p:spPr>
            <a:xfrm>
              <a:off x="6223001" y="3048048"/>
              <a:ext cx="1371984" cy="1371984"/>
            </a:xfrm>
            <a:prstGeom prst="ellipse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Isosceles Triangle 22">
              <a:hlinkClick r:id="rId4" action="ppaction://hlinkfile"/>
            </p:cNvPr>
            <p:cNvSpPr/>
            <p:nvPr/>
          </p:nvSpPr>
          <p:spPr>
            <a:xfrm rot="5400000">
              <a:off x="6546272" y="3366655"/>
              <a:ext cx="965585" cy="757813"/>
            </a:xfrm>
            <a:prstGeom prst="triangle">
              <a:avLst/>
            </a:prstGeom>
            <a:solidFill>
              <a:schemeClr val="bg2"/>
            </a:solidFill>
            <a:effectLst>
              <a:innerShdw blurRad="63500" dist="50800" dir="81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xmlns="" val="29015137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E:\Cris\2015-Deck-Ana-Padron-Felipe\Video2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63885" y="-22228"/>
            <a:ext cx="14694285" cy="8251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Group 6"/>
          <p:cNvGrpSpPr/>
          <p:nvPr/>
        </p:nvGrpSpPr>
        <p:grpSpPr>
          <a:xfrm>
            <a:off x="13383466" y="6987331"/>
            <a:ext cx="944827" cy="944827"/>
            <a:chOff x="6223001" y="3048048"/>
            <a:chExt cx="1371984" cy="1371984"/>
          </a:xfrm>
        </p:grpSpPr>
        <p:sp>
          <p:nvSpPr>
            <p:cNvPr id="5" name="Oval 4"/>
            <p:cNvSpPr/>
            <p:nvPr/>
          </p:nvSpPr>
          <p:spPr>
            <a:xfrm>
              <a:off x="6223001" y="3048048"/>
              <a:ext cx="1371984" cy="1371984"/>
            </a:xfrm>
            <a:prstGeom prst="ellipse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Isosceles Triangle 5">
              <a:hlinkClick r:id="rId3" action="ppaction://hlinkfile"/>
            </p:cNvPr>
            <p:cNvSpPr/>
            <p:nvPr/>
          </p:nvSpPr>
          <p:spPr>
            <a:xfrm rot="5400000">
              <a:off x="6546272" y="3366655"/>
              <a:ext cx="965585" cy="757813"/>
            </a:xfrm>
            <a:prstGeom prst="triangle">
              <a:avLst/>
            </a:prstGeom>
            <a:solidFill>
              <a:schemeClr val="bg2"/>
            </a:solidFill>
            <a:effectLst>
              <a:innerShdw blurRad="63500" dist="50800" dir="81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xmlns="" val="23048223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6433" name="Picture 1" descr="Mauro_IBMix Credentials_20140721_Page_17"/>
          <p:cNvPicPr>
            <a:picLocks noGrp="1" noChangeAspect="1"/>
          </p:cNvPicPr>
          <p:nvPr isPhoto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24998"/>
          <a:stretch>
            <a:fillRect/>
          </a:stretch>
        </p:blipFill>
        <p:spPr bwMode="auto">
          <a:xfrm>
            <a:off x="0" y="0"/>
            <a:ext cx="14630400" cy="822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6434" name="Group 4"/>
          <p:cNvGrpSpPr>
            <a:grpSpLocks/>
          </p:cNvGrpSpPr>
          <p:nvPr/>
        </p:nvGrpSpPr>
        <p:grpSpPr bwMode="auto">
          <a:xfrm>
            <a:off x="-76200" y="3686175"/>
            <a:ext cx="7829550" cy="3255963"/>
            <a:chOff x="-76200" y="3686173"/>
            <a:chExt cx="7829550" cy="3255839"/>
          </a:xfrm>
        </p:grpSpPr>
        <p:sp>
          <p:nvSpPr>
            <p:cNvPr id="4" name="Freeform 3"/>
            <p:cNvSpPr/>
            <p:nvPr/>
          </p:nvSpPr>
          <p:spPr>
            <a:xfrm>
              <a:off x="-76200" y="3686173"/>
              <a:ext cx="7829550" cy="3255839"/>
            </a:xfrm>
            <a:custGeom>
              <a:avLst/>
              <a:gdLst>
                <a:gd name="connsiteX0" fmla="*/ 76542 w 7839417"/>
                <a:gd name="connsiteY0" fmla="*/ 0 h 3276600"/>
                <a:gd name="connsiteX1" fmla="*/ 7839417 w 7839417"/>
                <a:gd name="connsiteY1" fmla="*/ 0 h 3276600"/>
                <a:gd name="connsiteX2" fmla="*/ 6372567 w 7839417"/>
                <a:gd name="connsiteY2" fmla="*/ 1628775 h 3276600"/>
                <a:gd name="connsiteX3" fmla="*/ 5239092 w 7839417"/>
                <a:gd name="connsiteY3" fmla="*/ 1628775 h 3276600"/>
                <a:gd name="connsiteX4" fmla="*/ 2152992 w 7839417"/>
                <a:gd name="connsiteY4" fmla="*/ 3257550 h 3276600"/>
                <a:gd name="connsiteX5" fmla="*/ 2029167 w 7839417"/>
                <a:gd name="connsiteY5" fmla="*/ 3267075 h 3276600"/>
                <a:gd name="connsiteX6" fmla="*/ 1972017 w 7839417"/>
                <a:gd name="connsiteY6" fmla="*/ 3276600 h 3276600"/>
                <a:gd name="connsiteX7" fmla="*/ 1676742 w 7839417"/>
                <a:gd name="connsiteY7" fmla="*/ 3267075 h 3276600"/>
                <a:gd name="connsiteX8" fmla="*/ 1543392 w 7839417"/>
                <a:gd name="connsiteY8" fmla="*/ 3248025 h 3276600"/>
                <a:gd name="connsiteX9" fmla="*/ 1486242 w 7839417"/>
                <a:gd name="connsiteY9" fmla="*/ 3228975 h 3276600"/>
                <a:gd name="connsiteX10" fmla="*/ 1362417 w 7839417"/>
                <a:gd name="connsiteY10" fmla="*/ 3219450 h 3276600"/>
                <a:gd name="connsiteX11" fmla="*/ 1286217 w 7839417"/>
                <a:gd name="connsiteY11" fmla="*/ 3200400 h 3276600"/>
                <a:gd name="connsiteX12" fmla="*/ 1210017 w 7839417"/>
                <a:gd name="connsiteY12" fmla="*/ 3171825 h 3276600"/>
                <a:gd name="connsiteX13" fmla="*/ 1114767 w 7839417"/>
                <a:gd name="connsiteY13" fmla="*/ 3143250 h 3276600"/>
                <a:gd name="connsiteX14" fmla="*/ 1057617 w 7839417"/>
                <a:gd name="connsiteY14" fmla="*/ 3114675 h 3276600"/>
                <a:gd name="connsiteX15" fmla="*/ 1029042 w 7839417"/>
                <a:gd name="connsiteY15" fmla="*/ 3095625 h 3276600"/>
                <a:gd name="connsiteX16" fmla="*/ 848067 w 7839417"/>
                <a:gd name="connsiteY16" fmla="*/ 3086100 h 3276600"/>
                <a:gd name="connsiteX17" fmla="*/ 819492 w 7839417"/>
                <a:gd name="connsiteY17" fmla="*/ 3076575 h 3276600"/>
                <a:gd name="connsiteX18" fmla="*/ 619467 w 7839417"/>
                <a:gd name="connsiteY18" fmla="*/ 3057525 h 3276600"/>
                <a:gd name="connsiteX19" fmla="*/ 524217 w 7839417"/>
                <a:gd name="connsiteY19" fmla="*/ 3028950 h 3276600"/>
                <a:gd name="connsiteX20" fmla="*/ 495642 w 7839417"/>
                <a:gd name="connsiteY20" fmla="*/ 3019425 h 3276600"/>
                <a:gd name="connsiteX21" fmla="*/ 467067 w 7839417"/>
                <a:gd name="connsiteY21" fmla="*/ 3009900 h 3276600"/>
                <a:gd name="connsiteX22" fmla="*/ 400392 w 7839417"/>
                <a:gd name="connsiteY22" fmla="*/ 2971800 h 3276600"/>
                <a:gd name="connsiteX23" fmla="*/ 343242 w 7839417"/>
                <a:gd name="connsiteY23" fmla="*/ 2952750 h 3276600"/>
                <a:gd name="connsiteX24" fmla="*/ 257517 w 7839417"/>
                <a:gd name="connsiteY24" fmla="*/ 2914650 h 3276600"/>
                <a:gd name="connsiteX25" fmla="*/ 228942 w 7839417"/>
                <a:gd name="connsiteY25" fmla="*/ 2905125 h 3276600"/>
                <a:gd name="connsiteX26" fmla="*/ 162267 w 7839417"/>
                <a:gd name="connsiteY26" fmla="*/ 2857500 h 3276600"/>
                <a:gd name="connsiteX27" fmla="*/ 133692 w 7839417"/>
                <a:gd name="connsiteY27" fmla="*/ 2847975 h 3276600"/>
                <a:gd name="connsiteX28" fmla="*/ 67017 w 7839417"/>
                <a:gd name="connsiteY28" fmla="*/ 2819400 h 3276600"/>
                <a:gd name="connsiteX29" fmla="*/ 342 w 7839417"/>
                <a:gd name="connsiteY29" fmla="*/ 2752725 h 3276600"/>
                <a:gd name="connsiteX30" fmla="*/ 342 w 7839417"/>
                <a:gd name="connsiteY30" fmla="*/ 2743200 h 3276600"/>
                <a:gd name="connsiteX31" fmla="*/ 9867 w 7839417"/>
                <a:gd name="connsiteY31" fmla="*/ 0 h 3276600"/>
                <a:gd name="connsiteX32" fmla="*/ 9867 w 7839417"/>
                <a:gd name="connsiteY32" fmla="*/ 0 h 3276600"/>
                <a:gd name="connsiteX33" fmla="*/ 9867 w 7839417"/>
                <a:gd name="connsiteY33" fmla="*/ 0 h 3276600"/>
                <a:gd name="connsiteX0" fmla="*/ 76542 w 7839417"/>
                <a:gd name="connsiteY0" fmla="*/ 0 h 3335255"/>
                <a:gd name="connsiteX1" fmla="*/ 7839417 w 7839417"/>
                <a:gd name="connsiteY1" fmla="*/ 0 h 3335255"/>
                <a:gd name="connsiteX2" fmla="*/ 6372567 w 7839417"/>
                <a:gd name="connsiteY2" fmla="*/ 1628775 h 3335255"/>
                <a:gd name="connsiteX3" fmla="*/ 5239092 w 7839417"/>
                <a:gd name="connsiteY3" fmla="*/ 1628775 h 3335255"/>
                <a:gd name="connsiteX4" fmla="*/ 4581867 w 7839417"/>
                <a:gd name="connsiteY4" fmla="*/ 2390775 h 3335255"/>
                <a:gd name="connsiteX5" fmla="*/ 2029167 w 7839417"/>
                <a:gd name="connsiteY5" fmla="*/ 3267075 h 3335255"/>
                <a:gd name="connsiteX6" fmla="*/ 1972017 w 7839417"/>
                <a:gd name="connsiteY6" fmla="*/ 3276600 h 3335255"/>
                <a:gd name="connsiteX7" fmla="*/ 1676742 w 7839417"/>
                <a:gd name="connsiteY7" fmla="*/ 3267075 h 3335255"/>
                <a:gd name="connsiteX8" fmla="*/ 1543392 w 7839417"/>
                <a:gd name="connsiteY8" fmla="*/ 3248025 h 3335255"/>
                <a:gd name="connsiteX9" fmla="*/ 1486242 w 7839417"/>
                <a:gd name="connsiteY9" fmla="*/ 3228975 h 3335255"/>
                <a:gd name="connsiteX10" fmla="*/ 1362417 w 7839417"/>
                <a:gd name="connsiteY10" fmla="*/ 3219450 h 3335255"/>
                <a:gd name="connsiteX11" fmla="*/ 1286217 w 7839417"/>
                <a:gd name="connsiteY11" fmla="*/ 3200400 h 3335255"/>
                <a:gd name="connsiteX12" fmla="*/ 1210017 w 7839417"/>
                <a:gd name="connsiteY12" fmla="*/ 3171825 h 3335255"/>
                <a:gd name="connsiteX13" fmla="*/ 1114767 w 7839417"/>
                <a:gd name="connsiteY13" fmla="*/ 3143250 h 3335255"/>
                <a:gd name="connsiteX14" fmla="*/ 1057617 w 7839417"/>
                <a:gd name="connsiteY14" fmla="*/ 3114675 h 3335255"/>
                <a:gd name="connsiteX15" fmla="*/ 1029042 w 7839417"/>
                <a:gd name="connsiteY15" fmla="*/ 3095625 h 3335255"/>
                <a:gd name="connsiteX16" fmla="*/ 848067 w 7839417"/>
                <a:gd name="connsiteY16" fmla="*/ 3086100 h 3335255"/>
                <a:gd name="connsiteX17" fmla="*/ 819492 w 7839417"/>
                <a:gd name="connsiteY17" fmla="*/ 3076575 h 3335255"/>
                <a:gd name="connsiteX18" fmla="*/ 619467 w 7839417"/>
                <a:gd name="connsiteY18" fmla="*/ 3057525 h 3335255"/>
                <a:gd name="connsiteX19" fmla="*/ 524217 w 7839417"/>
                <a:gd name="connsiteY19" fmla="*/ 3028950 h 3335255"/>
                <a:gd name="connsiteX20" fmla="*/ 495642 w 7839417"/>
                <a:gd name="connsiteY20" fmla="*/ 3019425 h 3335255"/>
                <a:gd name="connsiteX21" fmla="*/ 467067 w 7839417"/>
                <a:gd name="connsiteY21" fmla="*/ 3009900 h 3335255"/>
                <a:gd name="connsiteX22" fmla="*/ 400392 w 7839417"/>
                <a:gd name="connsiteY22" fmla="*/ 2971800 h 3335255"/>
                <a:gd name="connsiteX23" fmla="*/ 343242 w 7839417"/>
                <a:gd name="connsiteY23" fmla="*/ 2952750 h 3335255"/>
                <a:gd name="connsiteX24" fmla="*/ 257517 w 7839417"/>
                <a:gd name="connsiteY24" fmla="*/ 2914650 h 3335255"/>
                <a:gd name="connsiteX25" fmla="*/ 228942 w 7839417"/>
                <a:gd name="connsiteY25" fmla="*/ 2905125 h 3335255"/>
                <a:gd name="connsiteX26" fmla="*/ 162267 w 7839417"/>
                <a:gd name="connsiteY26" fmla="*/ 2857500 h 3335255"/>
                <a:gd name="connsiteX27" fmla="*/ 133692 w 7839417"/>
                <a:gd name="connsiteY27" fmla="*/ 2847975 h 3335255"/>
                <a:gd name="connsiteX28" fmla="*/ 67017 w 7839417"/>
                <a:gd name="connsiteY28" fmla="*/ 2819400 h 3335255"/>
                <a:gd name="connsiteX29" fmla="*/ 342 w 7839417"/>
                <a:gd name="connsiteY29" fmla="*/ 2752725 h 3335255"/>
                <a:gd name="connsiteX30" fmla="*/ 342 w 7839417"/>
                <a:gd name="connsiteY30" fmla="*/ 2743200 h 3335255"/>
                <a:gd name="connsiteX31" fmla="*/ 9867 w 7839417"/>
                <a:gd name="connsiteY31" fmla="*/ 0 h 3335255"/>
                <a:gd name="connsiteX32" fmla="*/ 9867 w 7839417"/>
                <a:gd name="connsiteY32" fmla="*/ 0 h 3335255"/>
                <a:gd name="connsiteX33" fmla="*/ 9867 w 7839417"/>
                <a:gd name="connsiteY33" fmla="*/ 0 h 3335255"/>
                <a:gd name="connsiteX0" fmla="*/ 76542 w 7839417"/>
                <a:gd name="connsiteY0" fmla="*/ 0 h 3335255"/>
                <a:gd name="connsiteX1" fmla="*/ 7839417 w 7839417"/>
                <a:gd name="connsiteY1" fmla="*/ 0 h 3335255"/>
                <a:gd name="connsiteX2" fmla="*/ 6372567 w 7839417"/>
                <a:gd name="connsiteY2" fmla="*/ 1628775 h 3335255"/>
                <a:gd name="connsiteX3" fmla="*/ 5239092 w 7839417"/>
                <a:gd name="connsiteY3" fmla="*/ 1628775 h 3335255"/>
                <a:gd name="connsiteX4" fmla="*/ 4581867 w 7839417"/>
                <a:gd name="connsiteY4" fmla="*/ 2390775 h 3335255"/>
                <a:gd name="connsiteX5" fmla="*/ 2029167 w 7839417"/>
                <a:gd name="connsiteY5" fmla="*/ 3267075 h 3335255"/>
                <a:gd name="connsiteX6" fmla="*/ 1972017 w 7839417"/>
                <a:gd name="connsiteY6" fmla="*/ 3276600 h 3335255"/>
                <a:gd name="connsiteX7" fmla="*/ 1676742 w 7839417"/>
                <a:gd name="connsiteY7" fmla="*/ 3267075 h 3335255"/>
                <a:gd name="connsiteX8" fmla="*/ 1543392 w 7839417"/>
                <a:gd name="connsiteY8" fmla="*/ 3248025 h 3335255"/>
                <a:gd name="connsiteX9" fmla="*/ 1486242 w 7839417"/>
                <a:gd name="connsiteY9" fmla="*/ 3228975 h 3335255"/>
                <a:gd name="connsiteX10" fmla="*/ 1362417 w 7839417"/>
                <a:gd name="connsiteY10" fmla="*/ 3219450 h 3335255"/>
                <a:gd name="connsiteX11" fmla="*/ 1286217 w 7839417"/>
                <a:gd name="connsiteY11" fmla="*/ 3200400 h 3335255"/>
                <a:gd name="connsiteX12" fmla="*/ 1210017 w 7839417"/>
                <a:gd name="connsiteY12" fmla="*/ 3171825 h 3335255"/>
                <a:gd name="connsiteX13" fmla="*/ 1114767 w 7839417"/>
                <a:gd name="connsiteY13" fmla="*/ 3143250 h 3335255"/>
                <a:gd name="connsiteX14" fmla="*/ 1057617 w 7839417"/>
                <a:gd name="connsiteY14" fmla="*/ 3114675 h 3335255"/>
                <a:gd name="connsiteX15" fmla="*/ 1029042 w 7839417"/>
                <a:gd name="connsiteY15" fmla="*/ 3095625 h 3335255"/>
                <a:gd name="connsiteX16" fmla="*/ 848067 w 7839417"/>
                <a:gd name="connsiteY16" fmla="*/ 3086100 h 3335255"/>
                <a:gd name="connsiteX17" fmla="*/ 819492 w 7839417"/>
                <a:gd name="connsiteY17" fmla="*/ 3076575 h 3335255"/>
                <a:gd name="connsiteX18" fmla="*/ 619467 w 7839417"/>
                <a:gd name="connsiteY18" fmla="*/ 3057525 h 3335255"/>
                <a:gd name="connsiteX19" fmla="*/ 524217 w 7839417"/>
                <a:gd name="connsiteY19" fmla="*/ 3028950 h 3335255"/>
                <a:gd name="connsiteX20" fmla="*/ 495642 w 7839417"/>
                <a:gd name="connsiteY20" fmla="*/ 3019425 h 3335255"/>
                <a:gd name="connsiteX21" fmla="*/ 467067 w 7839417"/>
                <a:gd name="connsiteY21" fmla="*/ 3009900 h 3335255"/>
                <a:gd name="connsiteX22" fmla="*/ 400392 w 7839417"/>
                <a:gd name="connsiteY22" fmla="*/ 2971800 h 3335255"/>
                <a:gd name="connsiteX23" fmla="*/ 343242 w 7839417"/>
                <a:gd name="connsiteY23" fmla="*/ 2952750 h 3335255"/>
                <a:gd name="connsiteX24" fmla="*/ 257517 w 7839417"/>
                <a:gd name="connsiteY24" fmla="*/ 2914650 h 3335255"/>
                <a:gd name="connsiteX25" fmla="*/ 228942 w 7839417"/>
                <a:gd name="connsiteY25" fmla="*/ 2905125 h 3335255"/>
                <a:gd name="connsiteX26" fmla="*/ 162267 w 7839417"/>
                <a:gd name="connsiteY26" fmla="*/ 2857500 h 3335255"/>
                <a:gd name="connsiteX27" fmla="*/ 133692 w 7839417"/>
                <a:gd name="connsiteY27" fmla="*/ 2847975 h 3335255"/>
                <a:gd name="connsiteX28" fmla="*/ 67017 w 7839417"/>
                <a:gd name="connsiteY28" fmla="*/ 2819400 h 3335255"/>
                <a:gd name="connsiteX29" fmla="*/ 342 w 7839417"/>
                <a:gd name="connsiteY29" fmla="*/ 2752725 h 3335255"/>
                <a:gd name="connsiteX30" fmla="*/ 342 w 7839417"/>
                <a:gd name="connsiteY30" fmla="*/ 2743200 h 3335255"/>
                <a:gd name="connsiteX31" fmla="*/ 9867 w 7839417"/>
                <a:gd name="connsiteY31" fmla="*/ 0 h 3335255"/>
                <a:gd name="connsiteX32" fmla="*/ 9867 w 7839417"/>
                <a:gd name="connsiteY32" fmla="*/ 0 h 3335255"/>
                <a:gd name="connsiteX33" fmla="*/ 9867 w 7839417"/>
                <a:gd name="connsiteY33" fmla="*/ 0 h 3335255"/>
                <a:gd name="connsiteX0" fmla="*/ 81138 w 7844013"/>
                <a:gd name="connsiteY0" fmla="*/ 0 h 3335255"/>
                <a:gd name="connsiteX1" fmla="*/ 7844013 w 7844013"/>
                <a:gd name="connsiteY1" fmla="*/ 0 h 3335255"/>
                <a:gd name="connsiteX2" fmla="*/ 6377163 w 7844013"/>
                <a:gd name="connsiteY2" fmla="*/ 1628775 h 3335255"/>
                <a:gd name="connsiteX3" fmla="*/ 5243688 w 7844013"/>
                <a:gd name="connsiteY3" fmla="*/ 1628775 h 3335255"/>
                <a:gd name="connsiteX4" fmla="*/ 4586463 w 7844013"/>
                <a:gd name="connsiteY4" fmla="*/ 2390775 h 3335255"/>
                <a:gd name="connsiteX5" fmla="*/ 2033763 w 7844013"/>
                <a:gd name="connsiteY5" fmla="*/ 3267075 h 3335255"/>
                <a:gd name="connsiteX6" fmla="*/ 1976613 w 7844013"/>
                <a:gd name="connsiteY6" fmla="*/ 3276600 h 3335255"/>
                <a:gd name="connsiteX7" fmla="*/ 1681338 w 7844013"/>
                <a:gd name="connsiteY7" fmla="*/ 3267075 h 3335255"/>
                <a:gd name="connsiteX8" fmla="*/ 1547988 w 7844013"/>
                <a:gd name="connsiteY8" fmla="*/ 3248025 h 3335255"/>
                <a:gd name="connsiteX9" fmla="*/ 1490838 w 7844013"/>
                <a:gd name="connsiteY9" fmla="*/ 3228975 h 3335255"/>
                <a:gd name="connsiteX10" fmla="*/ 1367013 w 7844013"/>
                <a:gd name="connsiteY10" fmla="*/ 3219450 h 3335255"/>
                <a:gd name="connsiteX11" fmla="*/ 1290813 w 7844013"/>
                <a:gd name="connsiteY11" fmla="*/ 3200400 h 3335255"/>
                <a:gd name="connsiteX12" fmla="*/ 1214613 w 7844013"/>
                <a:gd name="connsiteY12" fmla="*/ 3171825 h 3335255"/>
                <a:gd name="connsiteX13" fmla="*/ 1119363 w 7844013"/>
                <a:gd name="connsiteY13" fmla="*/ 3143250 h 3335255"/>
                <a:gd name="connsiteX14" fmla="*/ 1062213 w 7844013"/>
                <a:gd name="connsiteY14" fmla="*/ 3114675 h 3335255"/>
                <a:gd name="connsiteX15" fmla="*/ 1033638 w 7844013"/>
                <a:gd name="connsiteY15" fmla="*/ 3095625 h 3335255"/>
                <a:gd name="connsiteX16" fmla="*/ 852663 w 7844013"/>
                <a:gd name="connsiteY16" fmla="*/ 3086100 h 3335255"/>
                <a:gd name="connsiteX17" fmla="*/ 824088 w 7844013"/>
                <a:gd name="connsiteY17" fmla="*/ 3076575 h 3335255"/>
                <a:gd name="connsiteX18" fmla="*/ 624063 w 7844013"/>
                <a:gd name="connsiteY18" fmla="*/ 3057525 h 3335255"/>
                <a:gd name="connsiteX19" fmla="*/ 528813 w 7844013"/>
                <a:gd name="connsiteY19" fmla="*/ 3028950 h 3335255"/>
                <a:gd name="connsiteX20" fmla="*/ 500238 w 7844013"/>
                <a:gd name="connsiteY20" fmla="*/ 3019425 h 3335255"/>
                <a:gd name="connsiteX21" fmla="*/ 471663 w 7844013"/>
                <a:gd name="connsiteY21" fmla="*/ 3009900 h 3335255"/>
                <a:gd name="connsiteX22" fmla="*/ 404988 w 7844013"/>
                <a:gd name="connsiteY22" fmla="*/ 2971800 h 3335255"/>
                <a:gd name="connsiteX23" fmla="*/ 347838 w 7844013"/>
                <a:gd name="connsiteY23" fmla="*/ 2952750 h 3335255"/>
                <a:gd name="connsiteX24" fmla="*/ 262113 w 7844013"/>
                <a:gd name="connsiteY24" fmla="*/ 2914650 h 3335255"/>
                <a:gd name="connsiteX25" fmla="*/ 233538 w 7844013"/>
                <a:gd name="connsiteY25" fmla="*/ 2905125 h 3335255"/>
                <a:gd name="connsiteX26" fmla="*/ 166863 w 7844013"/>
                <a:gd name="connsiteY26" fmla="*/ 2857500 h 3335255"/>
                <a:gd name="connsiteX27" fmla="*/ 138288 w 7844013"/>
                <a:gd name="connsiteY27" fmla="*/ 2847975 h 3335255"/>
                <a:gd name="connsiteX28" fmla="*/ 71613 w 7844013"/>
                <a:gd name="connsiteY28" fmla="*/ 2819400 h 3335255"/>
                <a:gd name="connsiteX29" fmla="*/ 4938 w 7844013"/>
                <a:gd name="connsiteY29" fmla="*/ 2752725 h 3335255"/>
                <a:gd name="connsiteX30" fmla="*/ 4938 w 7844013"/>
                <a:gd name="connsiteY30" fmla="*/ 2743200 h 3335255"/>
                <a:gd name="connsiteX31" fmla="*/ 14463 w 7844013"/>
                <a:gd name="connsiteY31" fmla="*/ 0 h 3335255"/>
                <a:gd name="connsiteX32" fmla="*/ 14463 w 7844013"/>
                <a:gd name="connsiteY32" fmla="*/ 0 h 3335255"/>
                <a:gd name="connsiteX33" fmla="*/ 14463 w 7844013"/>
                <a:gd name="connsiteY33" fmla="*/ 0 h 3335255"/>
                <a:gd name="connsiteX0" fmla="*/ 81138 w 7844013"/>
                <a:gd name="connsiteY0" fmla="*/ 0 h 3335255"/>
                <a:gd name="connsiteX1" fmla="*/ 7844013 w 7844013"/>
                <a:gd name="connsiteY1" fmla="*/ 0 h 3335255"/>
                <a:gd name="connsiteX2" fmla="*/ 6377163 w 7844013"/>
                <a:gd name="connsiteY2" fmla="*/ 1628775 h 3335255"/>
                <a:gd name="connsiteX3" fmla="*/ 5243688 w 7844013"/>
                <a:gd name="connsiteY3" fmla="*/ 1628775 h 3335255"/>
                <a:gd name="connsiteX4" fmla="*/ 4586463 w 7844013"/>
                <a:gd name="connsiteY4" fmla="*/ 2390775 h 3335255"/>
                <a:gd name="connsiteX5" fmla="*/ 2033763 w 7844013"/>
                <a:gd name="connsiteY5" fmla="*/ 3267075 h 3335255"/>
                <a:gd name="connsiteX6" fmla="*/ 1976613 w 7844013"/>
                <a:gd name="connsiteY6" fmla="*/ 3276600 h 3335255"/>
                <a:gd name="connsiteX7" fmla="*/ 1681338 w 7844013"/>
                <a:gd name="connsiteY7" fmla="*/ 3267075 h 3335255"/>
                <a:gd name="connsiteX8" fmla="*/ 1547988 w 7844013"/>
                <a:gd name="connsiteY8" fmla="*/ 3248025 h 3335255"/>
                <a:gd name="connsiteX9" fmla="*/ 1490838 w 7844013"/>
                <a:gd name="connsiteY9" fmla="*/ 3228975 h 3335255"/>
                <a:gd name="connsiteX10" fmla="*/ 1367013 w 7844013"/>
                <a:gd name="connsiteY10" fmla="*/ 3219450 h 3335255"/>
                <a:gd name="connsiteX11" fmla="*/ 1290813 w 7844013"/>
                <a:gd name="connsiteY11" fmla="*/ 3200400 h 3335255"/>
                <a:gd name="connsiteX12" fmla="*/ 1214613 w 7844013"/>
                <a:gd name="connsiteY12" fmla="*/ 3171825 h 3335255"/>
                <a:gd name="connsiteX13" fmla="*/ 1119363 w 7844013"/>
                <a:gd name="connsiteY13" fmla="*/ 3143250 h 3335255"/>
                <a:gd name="connsiteX14" fmla="*/ 1062213 w 7844013"/>
                <a:gd name="connsiteY14" fmla="*/ 3114675 h 3335255"/>
                <a:gd name="connsiteX15" fmla="*/ 1033638 w 7844013"/>
                <a:gd name="connsiteY15" fmla="*/ 3095625 h 3335255"/>
                <a:gd name="connsiteX16" fmla="*/ 852663 w 7844013"/>
                <a:gd name="connsiteY16" fmla="*/ 3086100 h 3335255"/>
                <a:gd name="connsiteX17" fmla="*/ 824088 w 7844013"/>
                <a:gd name="connsiteY17" fmla="*/ 3076575 h 3335255"/>
                <a:gd name="connsiteX18" fmla="*/ 624063 w 7844013"/>
                <a:gd name="connsiteY18" fmla="*/ 3057525 h 3335255"/>
                <a:gd name="connsiteX19" fmla="*/ 528813 w 7844013"/>
                <a:gd name="connsiteY19" fmla="*/ 3028950 h 3335255"/>
                <a:gd name="connsiteX20" fmla="*/ 500238 w 7844013"/>
                <a:gd name="connsiteY20" fmla="*/ 3019425 h 3335255"/>
                <a:gd name="connsiteX21" fmla="*/ 471663 w 7844013"/>
                <a:gd name="connsiteY21" fmla="*/ 3009900 h 3335255"/>
                <a:gd name="connsiteX22" fmla="*/ 404988 w 7844013"/>
                <a:gd name="connsiteY22" fmla="*/ 2971800 h 3335255"/>
                <a:gd name="connsiteX23" fmla="*/ 347838 w 7844013"/>
                <a:gd name="connsiteY23" fmla="*/ 2952750 h 3335255"/>
                <a:gd name="connsiteX24" fmla="*/ 262113 w 7844013"/>
                <a:gd name="connsiteY24" fmla="*/ 2914650 h 3335255"/>
                <a:gd name="connsiteX25" fmla="*/ 233538 w 7844013"/>
                <a:gd name="connsiteY25" fmla="*/ 2905125 h 3335255"/>
                <a:gd name="connsiteX26" fmla="*/ 166863 w 7844013"/>
                <a:gd name="connsiteY26" fmla="*/ 2857500 h 3335255"/>
                <a:gd name="connsiteX27" fmla="*/ 138288 w 7844013"/>
                <a:gd name="connsiteY27" fmla="*/ 2847975 h 3335255"/>
                <a:gd name="connsiteX28" fmla="*/ 71613 w 7844013"/>
                <a:gd name="connsiteY28" fmla="*/ 2819400 h 3335255"/>
                <a:gd name="connsiteX29" fmla="*/ 4938 w 7844013"/>
                <a:gd name="connsiteY29" fmla="*/ 2752725 h 3335255"/>
                <a:gd name="connsiteX30" fmla="*/ 4938 w 7844013"/>
                <a:gd name="connsiteY30" fmla="*/ 2743200 h 3335255"/>
                <a:gd name="connsiteX31" fmla="*/ 14463 w 7844013"/>
                <a:gd name="connsiteY31" fmla="*/ 0 h 3335255"/>
                <a:gd name="connsiteX32" fmla="*/ 14463 w 7844013"/>
                <a:gd name="connsiteY32" fmla="*/ 0 h 3335255"/>
                <a:gd name="connsiteX33" fmla="*/ 14463 w 7844013"/>
                <a:gd name="connsiteY33" fmla="*/ 0 h 3335255"/>
                <a:gd name="connsiteX0" fmla="*/ 86077 w 7848952"/>
                <a:gd name="connsiteY0" fmla="*/ 0 h 3335255"/>
                <a:gd name="connsiteX1" fmla="*/ 7848952 w 7848952"/>
                <a:gd name="connsiteY1" fmla="*/ 0 h 3335255"/>
                <a:gd name="connsiteX2" fmla="*/ 6382102 w 7848952"/>
                <a:gd name="connsiteY2" fmla="*/ 1628775 h 3335255"/>
                <a:gd name="connsiteX3" fmla="*/ 5248627 w 7848952"/>
                <a:gd name="connsiteY3" fmla="*/ 1628775 h 3335255"/>
                <a:gd name="connsiteX4" fmla="*/ 4591402 w 7848952"/>
                <a:gd name="connsiteY4" fmla="*/ 2390775 h 3335255"/>
                <a:gd name="connsiteX5" fmla="*/ 2038702 w 7848952"/>
                <a:gd name="connsiteY5" fmla="*/ 3267075 h 3335255"/>
                <a:gd name="connsiteX6" fmla="*/ 1981552 w 7848952"/>
                <a:gd name="connsiteY6" fmla="*/ 3276600 h 3335255"/>
                <a:gd name="connsiteX7" fmla="*/ 1686277 w 7848952"/>
                <a:gd name="connsiteY7" fmla="*/ 3267075 h 3335255"/>
                <a:gd name="connsiteX8" fmla="*/ 1552927 w 7848952"/>
                <a:gd name="connsiteY8" fmla="*/ 3248025 h 3335255"/>
                <a:gd name="connsiteX9" fmla="*/ 1495777 w 7848952"/>
                <a:gd name="connsiteY9" fmla="*/ 3228975 h 3335255"/>
                <a:gd name="connsiteX10" fmla="*/ 1371952 w 7848952"/>
                <a:gd name="connsiteY10" fmla="*/ 3219450 h 3335255"/>
                <a:gd name="connsiteX11" fmla="*/ 1295752 w 7848952"/>
                <a:gd name="connsiteY11" fmla="*/ 3200400 h 3335255"/>
                <a:gd name="connsiteX12" fmla="*/ 1219552 w 7848952"/>
                <a:gd name="connsiteY12" fmla="*/ 3171825 h 3335255"/>
                <a:gd name="connsiteX13" fmla="*/ 1124302 w 7848952"/>
                <a:gd name="connsiteY13" fmla="*/ 3143250 h 3335255"/>
                <a:gd name="connsiteX14" fmla="*/ 1067152 w 7848952"/>
                <a:gd name="connsiteY14" fmla="*/ 3114675 h 3335255"/>
                <a:gd name="connsiteX15" fmla="*/ 1038577 w 7848952"/>
                <a:gd name="connsiteY15" fmla="*/ 3095625 h 3335255"/>
                <a:gd name="connsiteX16" fmla="*/ 857602 w 7848952"/>
                <a:gd name="connsiteY16" fmla="*/ 3086100 h 3335255"/>
                <a:gd name="connsiteX17" fmla="*/ 829027 w 7848952"/>
                <a:gd name="connsiteY17" fmla="*/ 3076575 h 3335255"/>
                <a:gd name="connsiteX18" fmla="*/ 629002 w 7848952"/>
                <a:gd name="connsiteY18" fmla="*/ 3057525 h 3335255"/>
                <a:gd name="connsiteX19" fmla="*/ 533752 w 7848952"/>
                <a:gd name="connsiteY19" fmla="*/ 3028950 h 3335255"/>
                <a:gd name="connsiteX20" fmla="*/ 505177 w 7848952"/>
                <a:gd name="connsiteY20" fmla="*/ 3019425 h 3335255"/>
                <a:gd name="connsiteX21" fmla="*/ 476602 w 7848952"/>
                <a:gd name="connsiteY21" fmla="*/ 3009900 h 3335255"/>
                <a:gd name="connsiteX22" fmla="*/ 409927 w 7848952"/>
                <a:gd name="connsiteY22" fmla="*/ 2971800 h 3335255"/>
                <a:gd name="connsiteX23" fmla="*/ 352777 w 7848952"/>
                <a:gd name="connsiteY23" fmla="*/ 2952750 h 3335255"/>
                <a:gd name="connsiteX24" fmla="*/ 267052 w 7848952"/>
                <a:gd name="connsiteY24" fmla="*/ 2914650 h 3335255"/>
                <a:gd name="connsiteX25" fmla="*/ 238477 w 7848952"/>
                <a:gd name="connsiteY25" fmla="*/ 2905125 h 3335255"/>
                <a:gd name="connsiteX26" fmla="*/ 171802 w 7848952"/>
                <a:gd name="connsiteY26" fmla="*/ 2857500 h 3335255"/>
                <a:gd name="connsiteX27" fmla="*/ 143227 w 7848952"/>
                <a:gd name="connsiteY27" fmla="*/ 2847975 h 3335255"/>
                <a:gd name="connsiteX28" fmla="*/ 9877 w 7848952"/>
                <a:gd name="connsiteY28" fmla="*/ 2752725 h 3335255"/>
                <a:gd name="connsiteX29" fmla="*/ 9877 w 7848952"/>
                <a:gd name="connsiteY29" fmla="*/ 2743200 h 3335255"/>
                <a:gd name="connsiteX30" fmla="*/ 19402 w 7848952"/>
                <a:gd name="connsiteY30" fmla="*/ 0 h 3335255"/>
                <a:gd name="connsiteX31" fmla="*/ 19402 w 7848952"/>
                <a:gd name="connsiteY31" fmla="*/ 0 h 3335255"/>
                <a:gd name="connsiteX32" fmla="*/ 19402 w 7848952"/>
                <a:gd name="connsiteY32" fmla="*/ 0 h 3335255"/>
                <a:gd name="connsiteX0" fmla="*/ 86077 w 7848952"/>
                <a:gd name="connsiteY0" fmla="*/ 0 h 3335255"/>
                <a:gd name="connsiteX1" fmla="*/ 7848952 w 7848952"/>
                <a:gd name="connsiteY1" fmla="*/ 0 h 3335255"/>
                <a:gd name="connsiteX2" fmla="*/ 6382102 w 7848952"/>
                <a:gd name="connsiteY2" fmla="*/ 1628775 h 3335255"/>
                <a:gd name="connsiteX3" fmla="*/ 5248627 w 7848952"/>
                <a:gd name="connsiteY3" fmla="*/ 1628775 h 3335255"/>
                <a:gd name="connsiteX4" fmla="*/ 4591402 w 7848952"/>
                <a:gd name="connsiteY4" fmla="*/ 2390775 h 3335255"/>
                <a:gd name="connsiteX5" fmla="*/ 2038702 w 7848952"/>
                <a:gd name="connsiteY5" fmla="*/ 3267075 h 3335255"/>
                <a:gd name="connsiteX6" fmla="*/ 1981552 w 7848952"/>
                <a:gd name="connsiteY6" fmla="*/ 3276600 h 3335255"/>
                <a:gd name="connsiteX7" fmla="*/ 1686277 w 7848952"/>
                <a:gd name="connsiteY7" fmla="*/ 3267075 h 3335255"/>
                <a:gd name="connsiteX8" fmla="*/ 1552927 w 7848952"/>
                <a:gd name="connsiteY8" fmla="*/ 3248025 h 3335255"/>
                <a:gd name="connsiteX9" fmla="*/ 1495777 w 7848952"/>
                <a:gd name="connsiteY9" fmla="*/ 3228975 h 3335255"/>
                <a:gd name="connsiteX10" fmla="*/ 1371952 w 7848952"/>
                <a:gd name="connsiteY10" fmla="*/ 3219450 h 3335255"/>
                <a:gd name="connsiteX11" fmla="*/ 1295752 w 7848952"/>
                <a:gd name="connsiteY11" fmla="*/ 3200400 h 3335255"/>
                <a:gd name="connsiteX12" fmla="*/ 1219552 w 7848952"/>
                <a:gd name="connsiteY12" fmla="*/ 3171825 h 3335255"/>
                <a:gd name="connsiteX13" fmla="*/ 1124302 w 7848952"/>
                <a:gd name="connsiteY13" fmla="*/ 3143250 h 3335255"/>
                <a:gd name="connsiteX14" fmla="*/ 1067152 w 7848952"/>
                <a:gd name="connsiteY14" fmla="*/ 3114675 h 3335255"/>
                <a:gd name="connsiteX15" fmla="*/ 1038577 w 7848952"/>
                <a:gd name="connsiteY15" fmla="*/ 3095625 h 3335255"/>
                <a:gd name="connsiteX16" fmla="*/ 857602 w 7848952"/>
                <a:gd name="connsiteY16" fmla="*/ 3086100 h 3335255"/>
                <a:gd name="connsiteX17" fmla="*/ 829027 w 7848952"/>
                <a:gd name="connsiteY17" fmla="*/ 3076575 h 3335255"/>
                <a:gd name="connsiteX18" fmla="*/ 629002 w 7848952"/>
                <a:gd name="connsiteY18" fmla="*/ 3057525 h 3335255"/>
                <a:gd name="connsiteX19" fmla="*/ 533752 w 7848952"/>
                <a:gd name="connsiteY19" fmla="*/ 3028950 h 3335255"/>
                <a:gd name="connsiteX20" fmla="*/ 505177 w 7848952"/>
                <a:gd name="connsiteY20" fmla="*/ 3019425 h 3335255"/>
                <a:gd name="connsiteX21" fmla="*/ 476602 w 7848952"/>
                <a:gd name="connsiteY21" fmla="*/ 3009900 h 3335255"/>
                <a:gd name="connsiteX22" fmla="*/ 409927 w 7848952"/>
                <a:gd name="connsiteY22" fmla="*/ 2971800 h 3335255"/>
                <a:gd name="connsiteX23" fmla="*/ 352777 w 7848952"/>
                <a:gd name="connsiteY23" fmla="*/ 2952750 h 3335255"/>
                <a:gd name="connsiteX24" fmla="*/ 267052 w 7848952"/>
                <a:gd name="connsiteY24" fmla="*/ 2914650 h 3335255"/>
                <a:gd name="connsiteX25" fmla="*/ 238477 w 7848952"/>
                <a:gd name="connsiteY25" fmla="*/ 2905125 h 3335255"/>
                <a:gd name="connsiteX26" fmla="*/ 171802 w 7848952"/>
                <a:gd name="connsiteY26" fmla="*/ 2857500 h 3335255"/>
                <a:gd name="connsiteX27" fmla="*/ 143227 w 7848952"/>
                <a:gd name="connsiteY27" fmla="*/ 2847975 h 3335255"/>
                <a:gd name="connsiteX28" fmla="*/ 9877 w 7848952"/>
                <a:gd name="connsiteY28" fmla="*/ 2752725 h 3335255"/>
                <a:gd name="connsiteX29" fmla="*/ 9877 w 7848952"/>
                <a:gd name="connsiteY29" fmla="*/ 2743200 h 3335255"/>
                <a:gd name="connsiteX30" fmla="*/ 19402 w 7848952"/>
                <a:gd name="connsiteY30" fmla="*/ 0 h 3335255"/>
                <a:gd name="connsiteX31" fmla="*/ 19402 w 7848952"/>
                <a:gd name="connsiteY31" fmla="*/ 0 h 3335255"/>
                <a:gd name="connsiteX32" fmla="*/ 19402 w 7848952"/>
                <a:gd name="connsiteY32" fmla="*/ 0 h 3335255"/>
                <a:gd name="connsiteX0" fmla="*/ 88194 w 7851069"/>
                <a:gd name="connsiteY0" fmla="*/ 0 h 3335255"/>
                <a:gd name="connsiteX1" fmla="*/ 7851069 w 7851069"/>
                <a:gd name="connsiteY1" fmla="*/ 0 h 3335255"/>
                <a:gd name="connsiteX2" fmla="*/ 6384219 w 7851069"/>
                <a:gd name="connsiteY2" fmla="*/ 1628775 h 3335255"/>
                <a:gd name="connsiteX3" fmla="*/ 5250744 w 7851069"/>
                <a:gd name="connsiteY3" fmla="*/ 1628775 h 3335255"/>
                <a:gd name="connsiteX4" fmla="*/ 4593519 w 7851069"/>
                <a:gd name="connsiteY4" fmla="*/ 2390775 h 3335255"/>
                <a:gd name="connsiteX5" fmla="*/ 2040819 w 7851069"/>
                <a:gd name="connsiteY5" fmla="*/ 3267075 h 3335255"/>
                <a:gd name="connsiteX6" fmla="*/ 1983669 w 7851069"/>
                <a:gd name="connsiteY6" fmla="*/ 3276600 h 3335255"/>
                <a:gd name="connsiteX7" fmla="*/ 1688394 w 7851069"/>
                <a:gd name="connsiteY7" fmla="*/ 3267075 h 3335255"/>
                <a:gd name="connsiteX8" fmla="*/ 1555044 w 7851069"/>
                <a:gd name="connsiteY8" fmla="*/ 3248025 h 3335255"/>
                <a:gd name="connsiteX9" fmla="*/ 1497894 w 7851069"/>
                <a:gd name="connsiteY9" fmla="*/ 3228975 h 3335255"/>
                <a:gd name="connsiteX10" fmla="*/ 1374069 w 7851069"/>
                <a:gd name="connsiteY10" fmla="*/ 3219450 h 3335255"/>
                <a:gd name="connsiteX11" fmla="*/ 1297869 w 7851069"/>
                <a:gd name="connsiteY11" fmla="*/ 3200400 h 3335255"/>
                <a:gd name="connsiteX12" fmla="*/ 1221669 w 7851069"/>
                <a:gd name="connsiteY12" fmla="*/ 3171825 h 3335255"/>
                <a:gd name="connsiteX13" fmla="*/ 1126419 w 7851069"/>
                <a:gd name="connsiteY13" fmla="*/ 3143250 h 3335255"/>
                <a:gd name="connsiteX14" fmla="*/ 1069269 w 7851069"/>
                <a:gd name="connsiteY14" fmla="*/ 3114675 h 3335255"/>
                <a:gd name="connsiteX15" fmla="*/ 1040694 w 7851069"/>
                <a:gd name="connsiteY15" fmla="*/ 3095625 h 3335255"/>
                <a:gd name="connsiteX16" fmla="*/ 859719 w 7851069"/>
                <a:gd name="connsiteY16" fmla="*/ 3086100 h 3335255"/>
                <a:gd name="connsiteX17" fmla="*/ 831144 w 7851069"/>
                <a:gd name="connsiteY17" fmla="*/ 3076575 h 3335255"/>
                <a:gd name="connsiteX18" fmla="*/ 631119 w 7851069"/>
                <a:gd name="connsiteY18" fmla="*/ 3057525 h 3335255"/>
                <a:gd name="connsiteX19" fmla="*/ 535869 w 7851069"/>
                <a:gd name="connsiteY19" fmla="*/ 3028950 h 3335255"/>
                <a:gd name="connsiteX20" fmla="*/ 507294 w 7851069"/>
                <a:gd name="connsiteY20" fmla="*/ 3019425 h 3335255"/>
                <a:gd name="connsiteX21" fmla="*/ 478719 w 7851069"/>
                <a:gd name="connsiteY21" fmla="*/ 3009900 h 3335255"/>
                <a:gd name="connsiteX22" fmla="*/ 412044 w 7851069"/>
                <a:gd name="connsiteY22" fmla="*/ 2971800 h 3335255"/>
                <a:gd name="connsiteX23" fmla="*/ 354894 w 7851069"/>
                <a:gd name="connsiteY23" fmla="*/ 2952750 h 3335255"/>
                <a:gd name="connsiteX24" fmla="*/ 269169 w 7851069"/>
                <a:gd name="connsiteY24" fmla="*/ 2914650 h 3335255"/>
                <a:gd name="connsiteX25" fmla="*/ 240594 w 7851069"/>
                <a:gd name="connsiteY25" fmla="*/ 2905125 h 3335255"/>
                <a:gd name="connsiteX26" fmla="*/ 173919 w 7851069"/>
                <a:gd name="connsiteY26" fmla="*/ 2857500 h 3335255"/>
                <a:gd name="connsiteX27" fmla="*/ 11994 w 7851069"/>
                <a:gd name="connsiteY27" fmla="*/ 2752725 h 3335255"/>
                <a:gd name="connsiteX28" fmla="*/ 11994 w 7851069"/>
                <a:gd name="connsiteY28" fmla="*/ 2743200 h 3335255"/>
                <a:gd name="connsiteX29" fmla="*/ 21519 w 7851069"/>
                <a:gd name="connsiteY29" fmla="*/ 0 h 3335255"/>
                <a:gd name="connsiteX30" fmla="*/ 21519 w 7851069"/>
                <a:gd name="connsiteY30" fmla="*/ 0 h 3335255"/>
                <a:gd name="connsiteX31" fmla="*/ 21519 w 7851069"/>
                <a:gd name="connsiteY31" fmla="*/ 0 h 3335255"/>
                <a:gd name="connsiteX0" fmla="*/ 88194 w 7851069"/>
                <a:gd name="connsiteY0" fmla="*/ 0 h 3335255"/>
                <a:gd name="connsiteX1" fmla="*/ 7851069 w 7851069"/>
                <a:gd name="connsiteY1" fmla="*/ 0 h 3335255"/>
                <a:gd name="connsiteX2" fmla="*/ 6384219 w 7851069"/>
                <a:gd name="connsiteY2" fmla="*/ 1628775 h 3335255"/>
                <a:gd name="connsiteX3" fmla="*/ 5250744 w 7851069"/>
                <a:gd name="connsiteY3" fmla="*/ 1628775 h 3335255"/>
                <a:gd name="connsiteX4" fmla="*/ 4593519 w 7851069"/>
                <a:gd name="connsiteY4" fmla="*/ 2390775 h 3335255"/>
                <a:gd name="connsiteX5" fmla="*/ 2040819 w 7851069"/>
                <a:gd name="connsiteY5" fmla="*/ 3267075 h 3335255"/>
                <a:gd name="connsiteX6" fmla="*/ 1983669 w 7851069"/>
                <a:gd name="connsiteY6" fmla="*/ 3276600 h 3335255"/>
                <a:gd name="connsiteX7" fmla="*/ 1688394 w 7851069"/>
                <a:gd name="connsiteY7" fmla="*/ 3267075 h 3335255"/>
                <a:gd name="connsiteX8" fmla="*/ 1555044 w 7851069"/>
                <a:gd name="connsiteY8" fmla="*/ 3248025 h 3335255"/>
                <a:gd name="connsiteX9" fmla="*/ 1497894 w 7851069"/>
                <a:gd name="connsiteY9" fmla="*/ 3228975 h 3335255"/>
                <a:gd name="connsiteX10" fmla="*/ 1374069 w 7851069"/>
                <a:gd name="connsiteY10" fmla="*/ 3219450 h 3335255"/>
                <a:gd name="connsiteX11" fmla="*/ 1297869 w 7851069"/>
                <a:gd name="connsiteY11" fmla="*/ 3200400 h 3335255"/>
                <a:gd name="connsiteX12" fmla="*/ 1221669 w 7851069"/>
                <a:gd name="connsiteY12" fmla="*/ 3171825 h 3335255"/>
                <a:gd name="connsiteX13" fmla="*/ 1126419 w 7851069"/>
                <a:gd name="connsiteY13" fmla="*/ 3143250 h 3335255"/>
                <a:gd name="connsiteX14" fmla="*/ 1069269 w 7851069"/>
                <a:gd name="connsiteY14" fmla="*/ 3114675 h 3335255"/>
                <a:gd name="connsiteX15" fmla="*/ 1040694 w 7851069"/>
                <a:gd name="connsiteY15" fmla="*/ 3095625 h 3335255"/>
                <a:gd name="connsiteX16" fmla="*/ 859719 w 7851069"/>
                <a:gd name="connsiteY16" fmla="*/ 3086100 h 3335255"/>
                <a:gd name="connsiteX17" fmla="*/ 831144 w 7851069"/>
                <a:gd name="connsiteY17" fmla="*/ 3076575 h 3335255"/>
                <a:gd name="connsiteX18" fmla="*/ 631119 w 7851069"/>
                <a:gd name="connsiteY18" fmla="*/ 3057525 h 3335255"/>
                <a:gd name="connsiteX19" fmla="*/ 535869 w 7851069"/>
                <a:gd name="connsiteY19" fmla="*/ 3028950 h 3335255"/>
                <a:gd name="connsiteX20" fmla="*/ 507294 w 7851069"/>
                <a:gd name="connsiteY20" fmla="*/ 3019425 h 3335255"/>
                <a:gd name="connsiteX21" fmla="*/ 478719 w 7851069"/>
                <a:gd name="connsiteY21" fmla="*/ 3009900 h 3335255"/>
                <a:gd name="connsiteX22" fmla="*/ 412044 w 7851069"/>
                <a:gd name="connsiteY22" fmla="*/ 2971800 h 3335255"/>
                <a:gd name="connsiteX23" fmla="*/ 354894 w 7851069"/>
                <a:gd name="connsiteY23" fmla="*/ 2952750 h 3335255"/>
                <a:gd name="connsiteX24" fmla="*/ 269169 w 7851069"/>
                <a:gd name="connsiteY24" fmla="*/ 2914650 h 3335255"/>
                <a:gd name="connsiteX25" fmla="*/ 173919 w 7851069"/>
                <a:gd name="connsiteY25" fmla="*/ 2857500 h 3335255"/>
                <a:gd name="connsiteX26" fmla="*/ 11994 w 7851069"/>
                <a:gd name="connsiteY26" fmla="*/ 2752725 h 3335255"/>
                <a:gd name="connsiteX27" fmla="*/ 11994 w 7851069"/>
                <a:gd name="connsiteY27" fmla="*/ 2743200 h 3335255"/>
                <a:gd name="connsiteX28" fmla="*/ 21519 w 7851069"/>
                <a:gd name="connsiteY28" fmla="*/ 0 h 3335255"/>
                <a:gd name="connsiteX29" fmla="*/ 21519 w 7851069"/>
                <a:gd name="connsiteY29" fmla="*/ 0 h 3335255"/>
                <a:gd name="connsiteX30" fmla="*/ 21519 w 7851069"/>
                <a:gd name="connsiteY30" fmla="*/ 0 h 3335255"/>
                <a:gd name="connsiteX0" fmla="*/ 95249 w 7858124"/>
                <a:gd name="connsiteY0" fmla="*/ 0 h 3335255"/>
                <a:gd name="connsiteX1" fmla="*/ 7858124 w 7858124"/>
                <a:gd name="connsiteY1" fmla="*/ 0 h 3335255"/>
                <a:gd name="connsiteX2" fmla="*/ 6391274 w 7858124"/>
                <a:gd name="connsiteY2" fmla="*/ 1628775 h 3335255"/>
                <a:gd name="connsiteX3" fmla="*/ 5257799 w 7858124"/>
                <a:gd name="connsiteY3" fmla="*/ 1628775 h 3335255"/>
                <a:gd name="connsiteX4" fmla="*/ 4600574 w 7858124"/>
                <a:gd name="connsiteY4" fmla="*/ 2390775 h 3335255"/>
                <a:gd name="connsiteX5" fmla="*/ 2047874 w 7858124"/>
                <a:gd name="connsiteY5" fmla="*/ 3267075 h 3335255"/>
                <a:gd name="connsiteX6" fmla="*/ 1990724 w 7858124"/>
                <a:gd name="connsiteY6" fmla="*/ 3276600 h 3335255"/>
                <a:gd name="connsiteX7" fmla="*/ 1695449 w 7858124"/>
                <a:gd name="connsiteY7" fmla="*/ 3267075 h 3335255"/>
                <a:gd name="connsiteX8" fmla="*/ 1562099 w 7858124"/>
                <a:gd name="connsiteY8" fmla="*/ 3248025 h 3335255"/>
                <a:gd name="connsiteX9" fmla="*/ 1504949 w 7858124"/>
                <a:gd name="connsiteY9" fmla="*/ 3228975 h 3335255"/>
                <a:gd name="connsiteX10" fmla="*/ 1381124 w 7858124"/>
                <a:gd name="connsiteY10" fmla="*/ 3219450 h 3335255"/>
                <a:gd name="connsiteX11" fmla="*/ 1304924 w 7858124"/>
                <a:gd name="connsiteY11" fmla="*/ 3200400 h 3335255"/>
                <a:gd name="connsiteX12" fmla="*/ 1228724 w 7858124"/>
                <a:gd name="connsiteY12" fmla="*/ 3171825 h 3335255"/>
                <a:gd name="connsiteX13" fmla="*/ 1133474 w 7858124"/>
                <a:gd name="connsiteY13" fmla="*/ 3143250 h 3335255"/>
                <a:gd name="connsiteX14" fmla="*/ 1076324 w 7858124"/>
                <a:gd name="connsiteY14" fmla="*/ 3114675 h 3335255"/>
                <a:gd name="connsiteX15" fmla="*/ 1047749 w 7858124"/>
                <a:gd name="connsiteY15" fmla="*/ 3095625 h 3335255"/>
                <a:gd name="connsiteX16" fmla="*/ 866774 w 7858124"/>
                <a:gd name="connsiteY16" fmla="*/ 3086100 h 3335255"/>
                <a:gd name="connsiteX17" fmla="*/ 838199 w 7858124"/>
                <a:gd name="connsiteY17" fmla="*/ 3076575 h 3335255"/>
                <a:gd name="connsiteX18" fmla="*/ 638174 w 7858124"/>
                <a:gd name="connsiteY18" fmla="*/ 3057525 h 3335255"/>
                <a:gd name="connsiteX19" fmla="*/ 542924 w 7858124"/>
                <a:gd name="connsiteY19" fmla="*/ 3028950 h 3335255"/>
                <a:gd name="connsiteX20" fmla="*/ 514349 w 7858124"/>
                <a:gd name="connsiteY20" fmla="*/ 3019425 h 3335255"/>
                <a:gd name="connsiteX21" fmla="*/ 485774 w 7858124"/>
                <a:gd name="connsiteY21" fmla="*/ 3009900 h 3335255"/>
                <a:gd name="connsiteX22" fmla="*/ 419099 w 7858124"/>
                <a:gd name="connsiteY22" fmla="*/ 2971800 h 3335255"/>
                <a:gd name="connsiteX23" fmla="*/ 361949 w 7858124"/>
                <a:gd name="connsiteY23" fmla="*/ 2952750 h 3335255"/>
                <a:gd name="connsiteX24" fmla="*/ 276224 w 7858124"/>
                <a:gd name="connsiteY24" fmla="*/ 2914650 h 3335255"/>
                <a:gd name="connsiteX25" fmla="*/ 19049 w 7858124"/>
                <a:gd name="connsiteY25" fmla="*/ 2752725 h 3335255"/>
                <a:gd name="connsiteX26" fmla="*/ 19049 w 7858124"/>
                <a:gd name="connsiteY26" fmla="*/ 2743200 h 3335255"/>
                <a:gd name="connsiteX27" fmla="*/ 28574 w 7858124"/>
                <a:gd name="connsiteY27" fmla="*/ 0 h 3335255"/>
                <a:gd name="connsiteX28" fmla="*/ 28574 w 7858124"/>
                <a:gd name="connsiteY28" fmla="*/ 0 h 3335255"/>
                <a:gd name="connsiteX29" fmla="*/ 28574 w 7858124"/>
                <a:gd name="connsiteY29" fmla="*/ 0 h 3335255"/>
                <a:gd name="connsiteX0" fmla="*/ 101600 w 7864475"/>
                <a:gd name="connsiteY0" fmla="*/ 0 h 3335255"/>
                <a:gd name="connsiteX1" fmla="*/ 7864475 w 7864475"/>
                <a:gd name="connsiteY1" fmla="*/ 0 h 3335255"/>
                <a:gd name="connsiteX2" fmla="*/ 6397625 w 7864475"/>
                <a:gd name="connsiteY2" fmla="*/ 1628775 h 3335255"/>
                <a:gd name="connsiteX3" fmla="*/ 5264150 w 7864475"/>
                <a:gd name="connsiteY3" fmla="*/ 1628775 h 3335255"/>
                <a:gd name="connsiteX4" fmla="*/ 4606925 w 7864475"/>
                <a:gd name="connsiteY4" fmla="*/ 2390775 h 3335255"/>
                <a:gd name="connsiteX5" fmla="*/ 2054225 w 7864475"/>
                <a:gd name="connsiteY5" fmla="*/ 3267075 h 3335255"/>
                <a:gd name="connsiteX6" fmla="*/ 1997075 w 7864475"/>
                <a:gd name="connsiteY6" fmla="*/ 3276600 h 3335255"/>
                <a:gd name="connsiteX7" fmla="*/ 1701800 w 7864475"/>
                <a:gd name="connsiteY7" fmla="*/ 3267075 h 3335255"/>
                <a:gd name="connsiteX8" fmla="*/ 1568450 w 7864475"/>
                <a:gd name="connsiteY8" fmla="*/ 3248025 h 3335255"/>
                <a:gd name="connsiteX9" fmla="*/ 1511300 w 7864475"/>
                <a:gd name="connsiteY9" fmla="*/ 3228975 h 3335255"/>
                <a:gd name="connsiteX10" fmla="*/ 1387475 w 7864475"/>
                <a:gd name="connsiteY10" fmla="*/ 3219450 h 3335255"/>
                <a:gd name="connsiteX11" fmla="*/ 1311275 w 7864475"/>
                <a:gd name="connsiteY11" fmla="*/ 3200400 h 3335255"/>
                <a:gd name="connsiteX12" fmla="*/ 1235075 w 7864475"/>
                <a:gd name="connsiteY12" fmla="*/ 3171825 h 3335255"/>
                <a:gd name="connsiteX13" fmla="*/ 1139825 w 7864475"/>
                <a:gd name="connsiteY13" fmla="*/ 3143250 h 3335255"/>
                <a:gd name="connsiteX14" fmla="*/ 1082675 w 7864475"/>
                <a:gd name="connsiteY14" fmla="*/ 3114675 h 3335255"/>
                <a:gd name="connsiteX15" fmla="*/ 1054100 w 7864475"/>
                <a:gd name="connsiteY15" fmla="*/ 3095625 h 3335255"/>
                <a:gd name="connsiteX16" fmla="*/ 873125 w 7864475"/>
                <a:gd name="connsiteY16" fmla="*/ 3086100 h 3335255"/>
                <a:gd name="connsiteX17" fmla="*/ 844550 w 7864475"/>
                <a:gd name="connsiteY17" fmla="*/ 3076575 h 3335255"/>
                <a:gd name="connsiteX18" fmla="*/ 644525 w 7864475"/>
                <a:gd name="connsiteY18" fmla="*/ 3057525 h 3335255"/>
                <a:gd name="connsiteX19" fmla="*/ 549275 w 7864475"/>
                <a:gd name="connsiteY19" fmla="*/ 3028950 h 3335255"/>
                <a:gd name="connsiteX20" fmla="*/ 520700 w 7864475"/>
                <a:gd name="connsiteY20" fmla="*/ 3019425 h 3335255"/>
                <a:gd name="connsiteX21" fmla="*/ 492125 w 7864475"/>
                <a:gd name="connsiteY21" fmla="*/ 3009900 h 3335255"/>
                <a:gd name="connsiteX22" fmla="*/ 425450 w 7864475"/>
                <a:gd name="connsiteY22" fmla="*/ 2971800 h 3335255"/>
                <a:gd name="connsiteX23" fmla="*/ 368300 w 7864475"/>
                <a:gd name="connsiteY23" fmla="*/ 2952750 h 3335255"/>
                <a:gd name="connsiteX24" fmla="*/ 25400 w 7864475"/>
                <a:gd name="connsiteY24" fmla="*/ 2752725 h 3335255"/>
                <a:gd name="connsiteX25" fmla="*/ 25400 w 7864475"/>
                <a:gd name="connsiteY25" fmla="*/ 2743200 h 3335255"/>
                <a:gd name="connsiteX26" fmla="*/ 34925 w 7864475"/>
                <a:gd name="connsiteY26" fmla="*/ 0 h 3335255"/>
                <a:gd name="connsiteX27" fmla="*/ 34925 w 7864475"/>
                <a:gd name="connsiteY27" fmla="*/ 0 h 3335255"/>
                <a:gd name="connsiteX28" fmla="*/ 34925 w 7864475"/>
                <a:gd name="connsiteY28" fmla="*/ 0 h 3335255"/>
                <a:gd name="connsiteX0" fmla="*/ 101600 w 7864475"/>
                <a:gd name="connsiteY0" fmla="*/ 0 h 3332697"/>
                <a:gd name="connsiteX1" fmla="*/ 7864475 w 7864475"/>
                <a:gd name="connsiteY1" fmla="*/ 0 h 3332697"/>
                <a:gd name="connsiteX2" fmla="*/ 6397625 w 7864475"/>
                <a:gd name="connsiteY2" fmla="*/ 1628775 h 3332697"/>
                <a:gd name="connsiteX3" fmla="*/ 5264150 w 7864475"/>
                <a:gd name="connsiteY3" fmla="*/ 1628775 h 3332697"/>
                <a:gd name="connsiteX4" fmla="*/ 4606925 w 7864475"/>
                <a:gd name="connsiteY4" fmla="*/ 2390775 h 3332697"/>
                <a:gd name="connsiteX5" fmla="*/ 2054225 w 7864475"/>
                <a:gd name="connsiteY5" fmla="*/ 3267075 h 3332697"/>
                <a:gd name="connsiteX6" fmla="*/ 1701800 w 7864475"/>
                <a:gd name="connsiteY6" fmla="*/ 3267075 h 3332697"/>
                <a:gd name="connsiteX7" fmla="*/ 1568450 w 7864475"/>
                <a:gd name="connsiteY7" fmla="*/ 3248025 h 3332697"/>
                <a:gd name="connsiteX8" fmla="*/ 1511300 w 7864475"/>
                <a:gd name="connsiteY8" fmla="*/ 3228975 h 3332697"/>
                <a:gd name="connsiteX9" fmla="*/ 1387475 w 7864475"/>
                <a:gd name="connsiteY9" fmla="*/ 3219450 h 3332697"/>
                <a:gd name="connsiteX10" fmla="*/ 1311275 w 7864475"/>
                <a:gd name="connsiteY10" fmla="*/ 3200400 h 3332697"/>
                <a:gd name="connsiteX11" fmla="*/ 1235075 w 7864475"/>
                <a:gd name="connsiteY11" fmla="*/ 3171825 h 3332697"/>
                <a:gd name="connsiteX12" fmla="*/ 1139825 w 7864475"/>
                <a:gd name="connsiteY12" fmla="*/ 3143250 h 3332697"/>
                <a:gd name="connsiteX13" fmla="*/ 1082675 w 7864475"/>
                <a:gd name="connsiteY13" fmla="*/ 3114675 h 3332697"/>
                <a:gd name="connsiteX14" fmla="*/ 1054100 w 7864475"/>
                <a:gd name="connsiteY14" fmla="*/ 3095625 h 3332697"/>
                <a:gd name="connsiteX15" fmla="*/ 873125 w 7864475"/>
                <a:gd name="connsiteY15" fmla="*/ 3086100 h 3332697"/>
                <a:gd name="connsiteX16" fmla="*/ 844550 w 7864475"/>
                <a:gd name="connsiteY16" fmla="*/ 3076575 h 3332697"/>
                <a:gd name="connsiteX17" fmla="*/ 644525 w 7864475"/>
                <a:gd name="connsiteY17" fmla="*/ 3057525 h 3332697"/>
                <a:gd name="connsiteX18" fmla="*/ 549275 w 7864475"/>
                <a:gd name="connsiteY18" fmla="*/ 3028950 h 3332697"/>
                <a:gd name="connsiteX19" fmla="*/ 520700 w 7864475"/>
                <a:gd name="connsiteY19" fmla="*/ 3019425 h 3332697"/>
                <a:gd name="connsiteX20" fmla="*/ 492125 w 7864475"/>
                <a:gd name="connsiteY20" fmla="*/ 3009900 h 3332697"/>
                <a:gd name="connsiteX21" fmla="*/ 425450 w 7864475"/>
                <a:gd name="connsiteY21" fmla="*/ 2971800 h 3332697"/>
                <a:gd name="connsiteX22" fmla="*/ 368300 w 7864475"/>
                <a:gd name="connsiteY22" fmla="*/ 2952750 h 3332697"/>
                <a:gd name="connsiteX23" fmla="*/ 25400 w 7864475"/>
                <a:gd name="connsiteY23" fmla="*/ 2752725 h 3332697"/>
                <a:gd name="connsiteX24" fmla="*/ 25400 w 7864475"/>
                <a:gd name="connsiteY24" fmla="*/ 2743200 h 3332697"/>
                <a:gd name="connsiteX25" fmla="*/ 34925 w 7864475"/>
                <a:gd name="connsiteY25" fmla="*/ 0 h 3332697"/>
                <a:gd name="connsiteX26" fmla="*/ 34925 w 7864475"/>
                <a:gd name="connsiteY26" fmla="*/ 0 h 3332697"/>
                <a:gd name="connsiteX27" fmla="*/ 34925 w 7864475"/>
                <a:gd name="connsiteY27" fmla="*/ 0 h 3332697"/>
                <a:gd name="connsiteX0" fmla="*/ 101600 w 7864475"/>
                <a:gd name="connsiteY0" fmla="*/ 0 h 3327245"/>
                <a:gd name="connsiteX1" fmla="*/ 7864475 w 7864475"/>
                <a:gd name="connsiteY1" fmla="*/ 0 h 3327245"/>
                <a:gd name="connsiteX2" fmla="*/ 6397625 w 7864475"/>
                <a:gd name="connsiteY2" fmla="*/ 1628775 h 3327245"/>
                <a:gd name="connsiteX3" fmla="*/ 5264150 w 7864475"/>
                <a:gd name="connsiteY3" fmla="*/ 1628775 h 3327245"/>
                <a:gd name="connsiteX4" fmla="*/ 4606925 w 7864475"/>
                <a:gd name="connsiteY4" fmla="*/ 2390775 h 3327245"/>
                <a:gd name="connsiteX5" fmla="*/ 2054225 w 7864475"/>
                <a:gd name="connsiteY5" fmla="*/ 3267075 h 3327245"/>
                <a:gd name="connsiteX6" fmla="*/ 1568450 w 7864475"/>
                <a:gd name="connsiteY6" fmla="*/ 3248025 h 3327245"/>
                <a:gd name="connsiteX7" fmla="*/ 1511300 w 7864475"/>
                <a:gd name="connsiteY7" fmla="*/ 3228975 h 3327245"/>
                <a:gd name="connsiteX8" fmla="*/ 1387475 w 7864475"/>
                <a:gd name="connsiteY8" fmla="*/ 3219450 h 3327245"/>
                <a:gd name="connsiteX9" fmla="*/ 1311275 w 7864475"/>
                <a:gd name="connsiteY9" fmla="*/ 3200400 h 3327245"/>
                <a:gd name="connsiteX10" fmla="*/ 1235075 w 7864475"/>
                <a:gd name="connsiteY10" fmla="*/ 3171825 h 3327245"/>
                <a:gd name="connsiteX11" fmla="*/ 1139825 w 7864475"/>
                <a:gd name="connsiteY11" fmla="*/ 3143250 h 3327245"/>
                <a:gd name="connsiteX12" fmla="*/ 1082675 w 7864475"/>
                <a:gd name="connsiteY12" fmla="*/ 3114675 h 3327245"/>
                <a:gd name="connsiteX13" fmla="*/ 1054100 w 7864475"/>
                <a:gd name="connsiteY13" fmla="*/ 3095625 h 3327245"/>
                <a:gd name="connsiteX14" fmla="*/ 873125 w 7864475"/>
                <a:gd name="connsiteY14" fmla="*/ 3086100 h 3327245"/>
                <a:gd name="connsiteX15" fmla="*/ 844550 w 7864475"/>
                <a:gd name="connsiteY15" fmla="*/ 3076575 h 3327245"/>
                <a:gd name="connsiteX16" fmla="*/ 644525 w 7864475"/>
                <a:gd name="connsiteY16" fmla="*/ 3057525 h 3327245"/>
                <a:gd name="connsiteX17" fmla="*/ 549275 w 7864475"/>
                <a:gd name="connsiteY17" fmla="*/ 3028950 h 3327245"/>
                <a:gd name="connsiteX18" fmla="*/ 520700 w 7864475"/>
                <a:gd name="connsiteY18" fmla="*/ 3019425 h 3327245"/>
                <a:gd name="connsiteX19" fmla="*/ 492125 w 7864475"/>
                <a:gd name="connsiteY19" fmla="*/ 3009900 h 3327245"/>
                <a:gd name="connsiteX20" fmla="*/ 425450 w 7864475"/>
                <a:gd name="connsiteY20" fmla="*/ 2971800 h 3327245"/>
                <a:gd name="connsiteX21" fmla="*/ 368300 w 7864475"/>
                <a:gd name="connsiteY21" fmla="*/ 2952750 h 3327245"/>
                <a:gd name="connsiteX22" fmla="*/ 25400 w 7864475"/>
                <a:gd name="connsiteY22" fmla="*/ 2752725 h 3327245"/>
                <a:gd name="connsiteX23" fmla="*/ 25400 w 7864475"/>
                <a:gd name="connsiteY23" fmla="*/ 2743200 h 3327245"/>
                <a:gd name="connsiteX24" fmla="*/ 34925 w 7864475"/>
                <a:gd name="connsiteY24" fmla="*/ 0 h 3327245"/>
                <a:gd name="connsiteX25" fmla="*/ 34925 w 7864475"/>
                <a:gd name="connsiteY25" fmla="*/ 0 h 3327245"/>
                <a:gd name="connsiteX26" fmla="*/ 34925 w 7864475"/>
                <a:gd name="connsiteY26" fmla="*/ 0 h 3327245"/>
                <a:gd name="connsiteX0" fmla="*/ 101600 w 7864475"/>
                <a:gd name="connsiteY0" fmla="*/ 0 h 3322010"/>
                <a:gd name="connsiteX1" fmla="*/ 7864475 w 7864475"/>
                <a:gd name="connsiteY1" fmla="*/ 0 h 3322010"/>
                <a:gd name="connsiteX2" fmla="*/ 6397625 w 7864475"/>
                <a:gd name="connsiteY2" fmla="*/ 1628775 h 3322010"/>
                <a:gd name="connsiteX3" fmla="*/ 5264150 w 7864475"/>
                <a:gd name="connsiteY3" fmla="*/ 1628775 h 3322010"/>
                <a:gd name="connsiteX4" fmla="*/ 4606925 w 7864475"/>
                <a:gd name="connsiteY4" fmla="*/ 2390775 h 3322010"/>
                <a:gd name="connsiteX5" fmla="*/ 2054225 w 7864475"/>
                <a:gd name="connsiteY5" fmla="*/ 3267075 h 3322010"/>
                <a:gd name="connsiteX6" fmla="*/ 1511300 w 7864475"/>
                <a:gd name="connsiteY6" fmla="*/ 3228975 h 3322010"/>
                <a:gd name="connsiteX7" fmla="*/ 1387475 w 7864475"/>
                <a:gd name="connsiteY7" fmla="*/ 3219450 h 3322010"/>
                <a:gd name="connsiteX8" fmla="*/ 1311275 w 7864475"/>
                <a:gd name="connsiteY8" fmla="*/ 3200400 h 3322010"/>
                <a:gd name="connsiteX9" fmla="*/ 1235075 w 7864475"/>
                <a:gd name="connsiteY9" fmla="*/ 3171825 h 3322010"/>
                <a:gd name="connsiteX10" fmla="*/ 1139825 w 7864475"/>
                <a:gd name="connsiteY10" fmla="*/ 3143250 h 3322010"/>
                <a:gd name="connsiteX11" fmla="*/ 1082675 w 7864475"/>
                <a:gd name="connsiteY11" fmla="*/ 3114675 h 3322010"/>
                <a:gd name="connsiteX12" fmla="*/ 1054100 w 7864475"/>
                <a:gd name="connsiteY12" fmla="*/ 3095625 h 3322010"/>
                <a:gd name="connsiteX13" fmla="*/ 873125 w 7864475"/>
                <a:gd name="connsiteY13" fmla="*/ 3086100 h 3322010"/>
                <a:gd name="connsiteX14" fmla="*/ 844550 w 7864475"/>
                <a:gd name="connsiteY14" fmla="*/ 3076575 h 3322010"/>
                <a:gd name="connsiteX15" fmla="*/ 644525 w 7864475"/>
                <a:gd name="connsiteY15" fmla="*/ 3057525 h 3322010"/>
                <a:gd name="connsiteX16" fmla="*/ 549275 w 7864475"/>
                <a:gd name="connsiteY16" fmla="*/ 3028950 h 3322010"/>
                <a:gd name="connsiteX17" fmla="*/ 520700 w 7864475"/>
                <a:gd name="connsiteY17" fmla="*/ 3019425 h 3322010"/>
                <a:gd name="connsiteX18" fmla="*/ 492125 w 7864475"/>
                <a:gd name="connsiteY18" fmla="*/ 3009900 h 3322010"/>
                <a:gd name="connsiteX19" fmla="*/ 425450 w 7864475"/>
                <a:gd name="connsiteY19" fmla="*/ 2971800 h 3322010"/>
                <a:gd name="connsiteX20" fmla="*/ 368300 w 7864475"/>
                <a:gd name="connsiteY20" fmla="*/ 2952750 h 3322010"/>
                <a:gd name="connsiteX21" fmla="*/ 25400 w 7864475"/>
                <a:gd name="connsiteY21" fmla="*/ 2752725 h 3322010"/>
                <a:gd name="connsiteX22" fmla="*/ 25400 w 7864475"/>
                <a:gd name="connsiteY22" fmla="*/ 2743200 h 3322010"/>
                <a:gd name="connsiteX23" fmla="*/ 34925 w 7864475"/>
                <a:gd name="connsiteY23" fmla="*/ 0 h 3322010"/>
                <a:gd name="connsiteX24" fmla="*/ 34925 w 7864475"/>
                <a:gd name="connsiteY24" fmla="*/ 0 h 3322010"/>
                <a:gd name="connsiteX25" fmla="*/ 34925 w 7864475"/>
                <a:gd name="connsiteY25" fmla="*/ 0 h 3322010"/>
                <a:gd name="connsiteX0" fmla="*/ 101600 w 7864475"/>
                <a:gd name="connsiteY0" fmla="*/ 0 h 3319988"/>
                <a:gd name="connsiteX1" fmla="*/ 7864475 w 7864475"/>
                <a:gd name="connsiteY1" fmla="*/ 0 h 3319988"/>
                <a:gd name="connsiteX2" fmla="*/ 6397625 w 7864475"/>
                <a:gd name="connsiteY2" fmla="*/ 1628775 h 3319988"/>
                <a:gd name="connsiteX3" fmla="*/ 5264150 w 7864475"/>
                <a:gd name="connsiteY3" fmla="*/ 1628775 h 3319988"/>
                <a:gd name="connsiteX4" fmla="*/ 4606925 w 7864475"/>
                <a:gd name="connsiteY4" fmla="*/ 2390775 h 3319988"/>
                <a:gd name="connsiteX5" fmla="*/ 2054225 w 7864475"/>
                <a:gd name="connsiteY5" fmla="*/ 3267075 h 3319988"/>
                <a:gd name="connsiteX6" fmla="*/ 1387475 w 7864475"/>
                <a:gd name="connsiteY6" fmla="*/ 3219450 h 3319988"/>
                <a:gd name="connsiteX7" fmla="*/ 1311275 w 7864475"/>
                <a:gd name="connsiteY7" fmla="*/ 3200400 h 3319988"/>
                <a:gd name="connsiteX8" fmla="*/ 1235075 w 7864475"/>
                <a:gd name="connsiteY8" fmla="*/ 3171825 h 3319988"/>
                <a:gd name="connsiteX9" fmla="*/ 1139825 w 7864475"/>
                <a:gd name="connsiteY9" fmla="*/ 3143250 h 3319988"/>
                <a:gd name="connsiteX10" fmla="*/ 1082675 w 7864475"/>
                <a:gd name="connsiteY10" fmla="*/ 3114675 h 3319988"/>
                <a:gd name="connsiteX11" fmla="*/ 1054100 w 7864475"/>
                <a:gd name="connsiteY11" fmla="*/ 3095625 h 3319988"/>
                <a:gd name="connsiteX12" fmla="*/ 873125 w 7864475"/>
                <a:gd name="connsiteY12" fmla="*/ 3086100 h 3319988"/>
                <a:gd name="connsiteX13" fmla="*/ 844550 w 7864475"/>
                <a:gd name="connsiteY13" fmla="*/ 3076575 h 3319988"/>
                <a:gd name="connsiteX14" fmla="*/ 644525 w 7864475"/>
                <a:gd name="connsiteY14" fmla="*/ 3057525 h 3319988"/>
                <a:gd name="connsiteX15" fmla="*/ 549275 w 7864475"/>
                <a:gd name="connsiteY15" fmla="*/ 3028950 h 3319988"/>
                <a:gd name="connsiteX16" fmla="*/ 520700 w 7864475"/>
                <a:gd name="connsiteY16" fmla="*/ 3019425 h 3319988"/>
                <a:gd name="connsiteX17" fmla="*/ 492125 w 7864475"/>
                <a:gd name="connsiteY17" fmla="*/ 3009900 h 3319988"/>
                <a:gd name="connsiteX18" fmla="*/ 425450 w 7864475"/>
                <a:gd name="connsiteY18" fmla="*/ 2971800 h 3319988"/>
                <a:gd name="connsiteX19" fmla="*/ 368300 w 7864475"/>
                <a:gd name="connsiteY19" fmla="*/ 2952750 h 3319988"/>
                <a:gd name="connsiteX20" fmla="*/ 25400 w 7864475"/>
                <a:gd name="connsiteY20" fmla="*/ 2752725 h 3319988"/>
                <a:gd name="connsiteX21" fmla="*/ 25400 w 7864475"/>
                <a:gd name="connsiteY21" fmla="*/ 2743200 h 3319988"/>
                <a:gd name="connsiteX22" fmla="*/ 34925 w 7864475"/>
                <a:gd name="connsiteY22" fmla="*/ 0 h 3319988"/>
                <a:gd name="connsiteX23" fmla="*/ 34925 w 7864475"/>
                <a:gd name="connsiteY23" fmla="*/ 0 h 3319988"/>
                <a:gd name="connsiteX24" fmla="*/ 34925 w 7864475"/>
                <a:gd name="connsiteY24" fmla="*/ 0 h 3319988"/>
                <a:gd name="connsiteX0" fmla="*/ 101600 w 7864475"/>
                <a:gd name="connsiteY0" fmla="*/ 0 h 3319988"/>
                <a:gd name="connsiteX1" fmla="*/ 7864475 w 7864475"/>
                <a:gd name="connsiteY1" fmla="*/ 0 h 3319988"/>
                <a:gd name="connsiteX2" fmla="*/ 6397625 w 7864475"/>
                <a:gd name="connsiteY2" fmla="*/ 1628775 h 3319988"/>
                <a:gd name="connsiteX3" fmla="*/ 5264150 w 7864475"/>
                <a:gd name="connsiteY3" fmla="*/ 1628775 h 3319988"/>
                <a:gd name="connsiteX4" fmla="*/ 4606925 w 7864475"/>
                <a:gd name="connsiteY4" fmla="*/ 2390775 h 3319988"/>
                <a:gd name="connsiteX5" fmla="*/ 2054225 w 7864475"/>
                <a:gd name="connsiteY5" fmla="*/ 3267075 h 3319988"/>
                <a:gd name="connsiteX6" fmla="*/ 1387475 w 7864475"/>
                <a:gd name="connsiteY6" fmla="*/ 3219450 h 3319988"/>
                <a:gd name="connsiteX7" fmla="*/ 1311275 w 7864475"/>
                <a:gd name="connsiteY7" fmla="*/ 3200400 h 3319988"/>
                <a:gd name="connsiteX8" fmla="*/ 1235075 w 7864475"/>
                <a:gd name="connsiteY8" fmla="*/ 3171825 h 3319988"/>
                <a:gd name="connsiteX9" fmla="*/ 1139825 w 7864475"/>
                <a:gd name="connsiteY9" fmla="*/ 3143250 h 3319988"/>
                <a:gd name="connsiteX10" fmla="*/ 1082675 w 7864475"/>
                <a:gd name="connsiteY10" fmla="*/ 3114675 h 3319988"/>
                <a:gd name="connsiteX11" fmla="*/ 1054100 w 7864475"/>
                <a:gd name="connsiteY11" fmla="*/ 3095625 h 3319988"/>
                <a:gd name="connsiteX12" fmla="*/ 873125 w 7864475"/>
                <a:gd name="connsiteY12" fmla="*/ 3086100 h 3319988"/>
                <a:gd name="connsiteX13" fmla="*/ 844550 w 7864475"/>
                <a:gd name="connsiteY13" fmla="*/ 3076575 h 3319988"/>
                <a:gd name="connsiteX14" fmla="*/ 644525 w 7864475"/>
                <a:gd name="connsiteY14" fmla="*/ 3057525 h 3319988"/>
                <a:gd name="connsiteX15" fmla="*/ 549275 w 7864475"/>
                <a:gd name="connsiteY15" fmla="*/ 3028950 h 3319988"/>
                <a:gd name="connsiteX16" fmla="*/ 520700 w 7864475"/>
                <a:gd name="connsiteY16" fmla="*/ 3019425 h 3319988"/>
                <a:gd name="connsiteX17" fmla="*/ 492125 w 7864475"/>
                <a:gd name="connsiteY17" fmla="*/ 3009900 h 3319988"/>
                <a:gd name="connsiteX18" fmla="*/ 425450 w 7864475"/>
                <a:gd name="connsiteY18" fmla="*/ 2971800 h 3319988"/>
                <a:gd name="connsiteX19" fmla="*/ 368300 w 7864475"/>
                <a:gd name="connsiteY19" fmla="*/ 2952750 h 3319988"/>
                <a:gd name="connsiteX20" fmla="*/ 25400 w 7864475"/>
                <a:gd name="connsiteY20" fmla="*/ 2752725 h 3319988"/>
                <a:gd name="connsiteX21" fmla="*/ 25400 w 7864475"/>
                <a:gd name="connsiteY21" fmla="*/ 2743200 h 3319988"/>
                <a:gd name="connsiteX22" fmla="*/ 34925 w 7864475"/>
                <a:gd name="connsiteY22" fmla="*/ 0 h 3319988"/>
                <a:gd name="connsiteX23" fmla="*/ 34925 w 7864475"/>
                <a:gd name="connsiteY23" fmla="*/ 0 h 3319988"/>
                <a:gd name="connsiteX24" fmla="*/ 34925 w 7864475"/>
                <a:gd name="connsiteY24" fmla="*/ 0 h 3319988"/>
                <a:gd name="connsiteX0" fmla="*/ 101600 w 7864475"/>
                <a:gd name="connsiteY0" fmla="*/ 0 h 3315921"/>
                <a:gd name="connsiteX1" fmla="*/ 7864475 w 7864475"/>
                <a:gd name="connsiteY1" fmla="*/ 0 h 3315921"/>
                <a:gd name="connsiteX2" fmla="*/ 6397625 w 7864475"/>
                <a:gd name="connsiteY2" fmla="*/ 1628775 h 3315921"/>
                <a:gd name="connsiteX3" fmla="*/ 5264150 w 7864475"/>
                <a:gd name="connsiteY3" fmla="*/ 1628775 h 3315921"/>
                <a:gd name="connsiteX4" fmla="*/ 4606925 w 7864475"/>
                <a:gd name="connsiteY4" fmla="*/ 2390775 h 3315921"/>
                <a:gd name="connsiteX5" fmla="*/ 2054225 w 7864475"/>
                <a:gd name="connsiteY5" fmla="*/ 3267075 h 3315921"/>
                <a:gd name="connsiteX6" fmla="*/ 1311275 w 7864475"/>
                <a:gd name="connsiteY6" fmla="*/ 3200400 h 3315921"/>
                <a:gd name="connsiteX7" fmla="*/ 1235075 w 7864475"/>
                <a:gd name="connsiteY7" fmla="*/ 3171825 h 3315921"/>
                <a:gd name="connsiteX8" fmla="*/ 1139825 w 7864475"/>
                <a:gd name="connsiteY8" fmla="*/ 3143250 h 3315921"/>
                <a:gd name="connsiteX9" fmla="*/ 1082675 w 7864475"/>
                <a:gd name="connsiteY9" fmla="*/ 3114675 h 3315921"/>
                <a:gd name="connsiteX10" fmla="*/ 1054100 w 7864475"/>
                <a:gd name="connsiteY10" fmla="*/ 3095625 h 3315921"/>
                <a:gd name="connsiteX11" fmla="*/ 873125 w 7864475"/>
                <a:gd name="connsiteY11" fmla="*/ 3086100 h 3315921"/>
                <a:gd name="connsiteX12" fmla="*/ 844550 w 7864475"/>
                <a:gd name="connsiteY12" fmla="*/ 3076575 h 3315921"/>
                <a:gd name="connsiteX13" fmla="*/ 644525 w 7864475"/>
                <a:gd name="connsiteY13" fmla="*/ 3057525 h 3315921"/>
                <a:gd name="connsiteX14" fmla="*/ 549275 w 7864475"/>
                <a:gd name="connsiteY14" fmla="*/ 3028950 h 3315921"/>
                <a:gd name="connsiteX15" fmla="*/ 520700 w 7864475"/>
                <a:gd name="connsiteY15" fmla="*/ 3019425 h 3315921"/>
                <a:gd name="connsiteX16" fmla="*/ 492125 w 7864475"/>
                <a:gd name="connsiteY16" fmla="*/ 3009900 h 3315921"/>
                <a:gd name="connsiteX17" fmla="*/ 425450 w 7864475"/>
                <a:gd name="connsiteY17" fmla="*/ 2971800 h 3315921"/>
                <a:gd name="connsiteX18" fmla="*/ 368300 w 7864475"/>
                <a:gd name="connsiteY18" fmla="*/ 2952750 h 3315921"/>
                <a:gd name="connsiteX19" fmla="*/ 25400 w 7864475"/>
                <a:gd name="connsiteY19" fmla="*/ 2752725 h 3315921"/>
                <a:gd name="connsiteX20" fmla="*/ 25400 w 7864475"/>
                <a:gd name="connsiteY20" fmla="*/ 2743200 h 3315921"/>
                <a:gd name="connsiteX21" fmla="*/ 34925 w 7864475"/>
                <a:gd name="connsiteY21" fmla="*/ 0 h 3315921"/>
                <a:gd name="connsiteX22" fmla="*/ 34925 w 7864475"/>
                <a:gd name="connsiteY22" fmla="*/ 0 h 3315921"/>
                <a:gd name="connsiteX23" fmla="*/ 34925 w 7864475"/>
                <a:gd name="connsiteY23" fmla="*/ 0 h 3315921"/>
                <a:gd name="connsiteX0" fmla="*/ 101600 w 7864475"/>
                <a:gd name="connsiteY0" fmla="*/ 0 h 3315921"/>
                <a:gd name="connsiteX1" fmla="*/ 7864475 w 7864475"/>
                <a:gd name="connsiteY1" fmla="*/ 0 h 3315921"/>
                <a:gd name="connsiteX2" fmla="*/ 6397625 w 7864475"/>
                <a:gd name="connsiteY2" fmla="*/ 1628775 h 3315921"/>
                <a:gd name="connsiteX3" fmla="*/ 5264150 w 7864475"/>
                <a:gd name="connsiteY3" fmla="*/ 1628775 h 3315921"/>
                <a:gd name="connsiteX4" fmla="*/ 4606925 w 7864475"/>
                <a:gd name="connsiteY4" fmla="*/ 2390775 h 3315921"/>
                <a:gd name="connsiteX5" fmla="*/ 2054225 w 7864475"/>
                <a:gd name="connsiteY5" fmla="*/ 3267075 h 3315921"/>
                <a:gd name="connsiteX6" fmla="*/ 1311275 w 7864475"/>
                <a:gd name="connsiteY6" fmla="*/ 3200400 h 3315921"/>
                <a:gd name="connsiteX7" fmla="*/ 1235075 w 7864475"/>
                <a:gd name="connsiteY7" fmla="*/ 3171825 h 3315921"/>
                <a:gd name="connsiteX8" fmla="*/ 1139825 w 7864475"/>
                <a:gd name="connsiteY8" fmla="*/ 3143250 h 3315921"/>
                <a:gd name="connsiteX9" fmla="*/ 1082675 w 7864475"/>
                <a:gd name="connsiteY9" fmla="*/ 3114675 h 3315921"/>
                <a:gd name="connsiteX10" fmla="*/ 1054100 w 7864475"/>
                <a:gd name="connsiteY10" fmla="*/ 3095625 h 3315921"/>
                <a:gd name="connsiteX11" fmla="*/ 873125 w 7864475"/>
                <a:gd name="connsiteY11" fmla="*/ 3086100 h 3315921"/>
                <a:gd name="connsiteX12" fmla="*/ 844550 w 7864475"/>
                <a:gd name="connsiteY12" fmla="*/ 3076575 h 3315921"/>
                <a:gd name="connsiteX13" fmla="*/ 644525 w 7864475"/>
                <a:gd name="connsiteY13" fmla="*/ 3057525 h 3315921"/>
                <a:gd name="connsiteX14" fmla="*/ 549275 w 7864475"/>
                <a:gd name="connsiteY14" fmla="*/ 3028950 h 3315921"/>
                <a:gd name="connsiteX15" fmla="*/ 520700 w 7864475"/>
                <a:gd name="connsiteY15" fmla="*/ 3019425 h 3315921"/>
                <a:gd name="connsiteX16" fmla="*/ 492125 w 7864475"/>
                <a:gd name="connsiteY16" fmla="*/ 3009900 h 3315921"/>
                <a:gd name="connsiteX17" fmla="*/ 425450 w 7864475"/>
                <a:gd name="connsiteY17" fmla="*/ 2971800 h 3315921"/>
                <a:gd name="connsiteX18" fmla="*/ 368300 w 7864475"/>
                <a:gd name="connsiteY18" fmla="*/ 2952750 h 3315921"/>
                <a:gd name="connsiteX19" fmla="*/ 25400 w 7864475"/>
                <a:gd name="connsiteY19" fmla="*/ 2752725 h 3315921"/>
                <a:gd name="connsiteX20" fmla="*/ 25400 w 7864475"/>
                <a:gd name="connsiteY20" fmla="*/ 2743200 h 3315921"/>
                <a:gd name="connsiteX21" fmla="*/ 34925 w 7864475"/>
                <a:gd name="connsiteY21" fmla="*/ 0 h 3315921"/>
                <a:gd name="connsiteX22" fmla="*/ 34925 w 7864475"/>
                <a:gd name="connsiteY22" fmla="*/ 0 h 3315921"/>
                <a:gd name="connsiteX23" fmla="*/ 34925 w 7864475"/>
                <a:gd name="connsiteY23" fmla="*/ 0 h 3315921"/>
                <a:gd name="connsiteX0" fmla="*/ 101600 w 7864475"/>
                <a:gd name="connsiteY0" fmla="*/ 0 h 3315921"/>
                <a:gd name="connsiteX1" fmla="*/ 7864475 w 7864475"/>
                <a:gd name="connsiteY1" fmla="*/ 0 h 3315921"/>
                <a:gd name="connsiteX2" fmla="*/ 6397625 w 7864475"/>
                <a:gd name="connsiteY2" fmla="*/ 1628775 h 3315921"/>
                <a:gd name="connsiteX3" fmla="*/ 5264150 w 7864475"/>
                <a:gd name="connsiteY3" fmla="*/ 1628775 h 3315921"/>
                <a:gd name="connsiteX4" fmla="*/ 4606925 w 7864475"/>
                <a:gd name="connsiteY4" fmla="*/ 2390775 h 3315921"/>
                <a:gd name="connsiteX5" fmla="*/ 2054225 w 7864475"/>
                <a:gd name="connsiteY5" fmla="*/ 3267075 h 3315921"/>
                <a:gd name="connsiteX6" fmla="*/ 1311275 w 7864475"/>
                <a:gd name="connsiteY6" fmla="*/ 3200400 h 3315921"/>
                <a:gd name="connsiteX7" fmla="*/ 1235075 w 7864475"/>
                <a:gd name="connsiteY7" fmla="*/ 3171825 h 3315921"/>
                <a:gd name="connsiteX8" fmla="*/ 1139825 w 7864475"/>
                <a:gd name="connsiteY8" fmla="*/ 3143250 h 3315921"/>
                <a:gd name="connsiteX9" fmla="*/ 1082675 w 7864475"/>
                <a:gd name="connsiteY9" fmla="*/ 3114675 h 3315921"/>
                <a:gd name="connsiteX10" fmla="*/ 1054100 w 7864475"/>
                <a:gd name="connsiteY10" fmla="*/ 3095625 h 3315921"/>
                <a:gd name="connsiteX11" fmla="*/ 873125 w 7864475"/>
                <a:gd name="connsiteY11" fmla="*/ 3086100 h 3315921"/>
                <a:gd name="connsiteX12" fmla="*/ 844550 w 7864475"/>
                <a:gd name="connsiteY12" fmla="*/ 3076575 h 3315921"/>
                <a:gd name="connsiteX13" fmla="*/ 644525 w 7864475"/>
                <a:gd name="connsiteY13" fmla="*/ 3057525 h 3315921"/>
                <a:gd name="connsiteX14" fmla="*/ 549275 w 7864475"/>
                <a:gd name="connsiteY14" fmla="*/ 3028950 h 3315921"/>
                <a:gd name="connsiteX15" fmla="*/ 520700 w 7864475"/>
                <a:gd name="connsiteY15" fmla="*/ 3019425 h 3315921"/>
                <a:gd name="connsiteX16" fmla="*/ 492125 w 7864475"/>
                <a:gd name="connsiteY16" fmla="*/ 3009900 h 3315921"/>
                <a:gd name="connsiteX17" fmla="*/ 425450 w 7864475"/>
                <a:gd name="connsiteY17" fmla="*/ 2971800 h 3315921"/>
                <a:gd name="connsiteX18" fmla="*/ 368300 w 7864475"/>
                <a:gd name="connsiteY18" fmla="*/ 2952750 h 3315921"/>
                <a:gd name="connsiteX19" fmla="*/ 25400 w 7864475"/>
                <a:gd name="connsiteY19" fmla="*/ 2752725 h 3315921"/>
                <a:gd name="connsiteX20" fmla="*/ 25400 w 7864475"/>
                <a:gd name="connsiteY20" fmla="*/ 2743200 h 3315921"/>
                <a:gd name="connsiteX21" fmla="*/ 34925 w 7864475"/>
                <a:gd name="connsiteY21" fmla="*/ 0 h 3315921"/>
                <a:gd name="connsiteX22" fmla="*/ 34925 w 7864475"/>
                <a:gd name="connsiteY22" fmla="*/ 0 h 3315921"/>
                <a:gd name="connsiteX23" fmla="*/ 34925 w 7864475"/>
                <a:gd name="connsiteY23" fmla="*/ 0 h 3315921"/>
                <a:gd name="connsiteX0" fmla="*/ 101600 w 7864475"/>
                <a:gd name="connsiteY0" fmla="*/ 0 h 3315921"/>
                <a:gd name="connsiteX1" fmla="*/ 7864475 w 7864475"/>
                <a:gd name="connsiteY1" fmla="*/ 0 h 3315921"/>
                <a:gd name="connsiteX2" fmla="*/ 6397625 w 7864475"/>
                <a:gd name="connsiteY2" fmla="*/ 1628775 h 3315921"/>
                <a:gd name="connsiteX3" fmla="*/ 5264150 w 7864475"/>
                <a:gd name="connsiteY3" fmla="*/ 1628775 h 3315921"/>
                <a:gd name="connsiteX4" fmla="*/ 4606925 w 7864475"/>
                <a:gd name="connsiteY4" fmla="*/ 2390775 h 3315921"/>
                <a:gd name="connsiteX5" fmla="*/ 2054225 w 7864475"/>
                <a:gd name="connsiteY5" fmla="*/ 3267075 h 3315921"/>
                <a:gd name="connsiteX6" fmla="*/ 1311275 w 7864475"/>
                <a:gd name="connsiteY6" fmla="*/ 3200400 h 3315921"/>
                <a:gd name="connsiteX7" fmla="*/ 1235075 w 7864475"/>
                <a:gd name="connsiteY7" fmla="*/ 3171825 h 3315921"/>
                <a:gd name="connsiteX8" fmla="*/ 1139825 w 7864475"/>
                <a:gd name="connsiteY8" fmla="*/ 3143250 h 3315921"/>
                <a:gd name="connsiteX9" fmla="*/ 1082675 w 7864475"/>
                <a:gd name="connsiteY9" fmla="*/ 3114675 h 3315921"/>
                <a:gd name="connsiteX10" fmla="*/ 1054100 w 7864475"/>
                <a:gd name="connsiteY10" fmla="*/ 3095625 h 3315921"/>
                <a:gd name="connsiteX11" fmla="*/ 873125 w 7864475"/>
                <a:gd name="connsiteY11" fmla="*/ 3086100 h 3315921"/>
                <a:gd name="connsiteX12" fmla="*/ 844550 w 7864475"/>
                <a:gd name="connsiteY12" fmla="*/ 3076575 h 3315921"/>
                <a:gd name="connsiteX13" fmla="*/ 644525 w 7864475"/>
                <a:gd name="connsiteY13" fmla="*/ 3057525 h 3315921"/>
                <a:gd name="connsiteX14" fmla="*/ 549275 w 7864475"/>
                <a:gd name="connsiteY14" fmla="*/ 3028950 h 3315921"/>
                <a:gd name="connsiteX15" fmla="*/ 520700 w 7864475"/>
                <a:gd name="connsiteY15" fmla="*/ 3019425 h 3315921"/>
                <a:gd name="connsiteX16" fmla="*/ 492125 w 7864475"/>
                <a:gd name="connsiteY16" fmla="*/ 3009900 h 3315921"/>
                <a:gd name="connsiteX17" fmla="*/ 425450 w 7864475"/>
                <a:gd name="connsiteY17" fmla="*/ 2971800 h 3315921"/>
                <a:gd name="connsiteX18" fmla="*/ 368300 w 7864475"/>
                <a:gd name="connsiteY18" fmla="*/ 2952750 h 3315921"/>
                <a:gd name="connsiteX19" fmla="*/ 25400 w 7864475"/>
                <a:gd name="connsiteY19" fmla="*/ 2752725 h 3315921"/>
                <a:gd name="connsiteX20" fmla="*/ 25400 w 7864475"/>
                <a:gd name="connsiteY20" fmla="*/ 2743200 h 3315921"/>
                <a:gd name="connsiteX21" fmla="*/ 34925 w 7864475"/>
                <a:gd name="connsiteY21" fmla="*/ 0 h 3315921"/>
                <a:gd name="connsiteX22" fmla="*/ 34925 w 7864475"/>
                <a:gd name="connsiteY22" fmla="*/ 0 h 3315921"/>
                <a:gd name="connsiteX23" fmla="*/ 34925 w 7864475"/>
                <a:gd name="connsiteY23" fmla="*/ 0 h 3315921"/>
                <a:gd name="connsiteX0" fmla="*/ 101600 w 7864475"/>
                <a:gd name="connsiteY0" fmla="*/ 0 h 3316661"/>
                <a:gd name="connsiteX1" fmla="*/ 7864475 w 7864475"/>
                <a:gd name="connsiteY1" fmla="*/ 0 h 3316661"/>
                <a:gd name="connsiteX2" fmla="*/ 6397625 w 7864475"/>
                <a:gd name="connsiteY2" fmla="*/ 1628775 h 3316661"/>
                <a:gd name="connsiteX3" fmla="*/ 5264150 w 7864475"/>
                <a:gd name="connsiteY3" fmla="*/ 1628775 h 3316661"/>
                <a:gd name="connsiteX4" fmla="*/ 4606925 w 7864475"/>
                <a:gd name="connsiteY4" fmla="*/ 2390775 h 3316661"/>
                <a:gd name="connsiteX5" fmla="*/ 2054225 w 7864475"/>
                <a:gd name="connsiteY5" fmla="*/ 3267075 h 3316661"/>
                <a:gd name="connsiteX6" fmla="*/ 1311275 w 7864475"/>
                <a:gd name="connsiteY6" fmla="*/ 3200400 h 3316661"/>
                <a:gd name="connsiteX7" fmla="*/ 1139825 w 7864475"/>
                <a:gd name="connsiteY7" fmla="*/ 3143250 h 3316661"/>
                <a:gd name="connsiteX8" fmla="*/ 1082675 w 7864475"/>
                <a:gd name="connsiteY8" fmla="*/ 3114675 h 3316661"/>
                <a:gd name="connsiteX9" fmla="*/ 1054100 w 7864475"/>
                <a:gd name="connsiteY9" fmla="*/ 3095625 h 3316661"/>
                <a:gd name="connsiteX10" fmla="*/ 873125 w 7864475"/>
                <a:gd name="connsiteY10" fmla="*/ 3086100 h 3316661"/>
                <a:gd name="connsiteX11" fmla="*/ 844550 w 7864475"/>
                <a:gd name="connsiteY11" fmla="*/ 3076575 h 3316661"/>
                <a:gd name="connsiteX12" fmla="*/ 644525 w 7864475"/>
                <a:gd name="connsiteY12" fmla="*/ 3057525 h 3316661"/>
                <a:gd name="connsiteX13" fmla="*/ 549275 w 7864475"/>
                <a:gd name="connsiteY13" fmla="*/ 3028950 h 3316661"/>
                <a:gd name="connsiteX14" fmla="*/ 520700 w 7864475"/>
                <a:gd name="connsiteY14" fmla="*/ 3019425 h 3316661"/>
                <a:gd name="connsiteX15" fmla="*/ 492125 w 7864475"/>
                <a:gd name="connsiteY15" fmla="*/ 3009900 h 3316661"/>
                <a:gd name="connsiteX16" fmla="*/ 425450 w 7864475"/>
                <a:gd name="connsiteY16" fmla="*/ 2971800 h 3316661"/>
                <a:gd name="connsiteX17" fmla="*/ 368300 w 7864475"/>
                <a:gd name="connsiteY17" fmla="*/ 2952750 h 3316661"/>
                <a:gd name="connsiteX18" fmla="*/ 25400 w 7864475"/>
                <a:gd name="connsiteY18" fmla="*/ 2752725 h 3316661"/>
                <a:gd name="connsiteX19" fmla="*/ 25400 w 7864475"/>
                <a:gd name="connsiteY19" fmla="*/ 2743200 h 3316661"/>
                <a:gd name="connsiteX20" fmla="*/ 34925 w 7864475"/>
                <a:gd name="connsiteY20" fmla="*/ 0 h 3316661"/>
                <a:gd name="connsiteX21" fmla="*/ 34925 w 7864475"/>
                <a:gd name="connsiteY21" fmla="*/ 0 h 3316661"/>
                <a:gd name="connsiteX22" fmla="*/ 34925 w 7864475"/>
                <a:gd name="connsiteY22" fmla="*/ 0 h 3316661"/>
                <a:gd name="connsiteX0" fmla="*/ 101600 w 7864475"/>
                <a:gd name="connsiteY0" fmla="*/ 0 h 3316661"/>
                <a:gd name="connsiteX1" fmla="*/ 7864475 w 7864475"/>
                <a:gd name="connsiteY1" fmla="*/ 0 h 3316661"/>
                <a:gd name="connsiteX2" fmla="*/ 6397625 w 7864475"/>
                <a:gd name="connsiteY2" fmla="*/ 1628775 h 3316661"/>
                <a:gd name="connsiteX3" fmla="*/ 5264150 w 7864475"/>
                <a:gd name="connsiteY3" fmla="*/ 1628775 h 3316661"/>
                <a:gd name="connsiteX4" fmla="*/ 4606925 w 7864475"/>
                <a:gd name="connsiteY4" fmla="*/ 2390775 h 3316661"/>
                <a:gd name="connsiteX5" fmla="*/ 2054225 w 7864475"/>
                <a:gd name="connsiteY5" fmla="*/ 3267075 h 3316661"/>
                <a:gd name="connsiteX6" fmla="*/ 1311275 w 7864475"/>
                <a:gd name="connsiteY6" fmla="*/ 3200400 h 3316661"/>
                <a:gd name="connsiteX7" fmla="*/ 1139825 w 7864475"/>
                <a:gd name="connsiteY7" fmla="*/ 3143250 h 3316661"/>
                <a:gd name="connsiteX8" fmla="*/ 1082675 w 7864475"/>
                <a:gd name="connsiteY8" fmla="*/ 3114675 h 3316661"/>
                <a:gd name="connsiteX9" fmla="*/ 1054100 w 7864475"/>
                <a:gd name="connsiteY9" fmla="*/ 3095625 h 3316661"/>
                <a:gd name="connsiteX10" fmla="*/ 873125 w 7864475"/>
                <a:gd name="connsiteY10" fmla="*/ 3086100 h 3316661"/>
                <a:gd name="connsiteX11" fmla="*/ 844550 w 7864475"/>
                <a:gd name="connsiteY11" fmla="*/ 3076575 h 3316661"/>
                <a:gd name="connsiteX12" fmla="*/ 644525 w 7864475"/>
                <a:gd name="connsiteY12" fmla="*/ 3057525 h 3316661"/>
                <a:gd name="connsiteX13" fmla="*/ 549275 w 7864475"/>
                <a:gd name="connsiteY13" fmla="*/ 3028950 h 3316661"/>
                <a:gd name="connsiteX14" fmla="*/ 520700 w 7864475"/>
                <a:gd name="connsiteY14" fmla="*/ 3019425 h 3316661"/>
                <a:gd name="connsiteX15" fmla="*/ 492125 w 7864475"/>
                <a:gd name="connsiteY15" fmla="*/ 3009900 h 3316661"/>
                <a:gd name="connsiteX16" fmla="*/ 425450 w 7864475"/>
                <a:gd name="connsiteY16" fmla="*/ 2971800 h 3316661"/>
                <a:gd name="connsiteX17" fmla="*/ 368300 w 7864475"/>
                <a:gd name="connsiteY17" fmla="*/ 2952750 h 3316661"/>
                <a:gd name="connsiteX18" fmla="*/ 25400 w 7864475"/>
                <a:gd name="connsiteY18" fmla="*/ 2752725 h 3316661"/>
                <a:gd name="connsiteX19" fmla="*/ 25400 w 7864475"/>
                <a:gd name="connsiteY19" fmla="*/ 2743200 h 3316661"/>
                <a:gd name="connsiteX20" fmla="*/ 34925 w 7864475"/>
                <a:gd name="connsiteY20" fmla="*/ 0 h 3316661"/>
                <a:gd name="connsiteX21" fmla="*/ 34925 w 7864475"/>
                <a:gd name="connsiteY21" fmla="*/ 0 h 3316661"/>
                <a:gd name="connsiteX22" fmla="*/ 34925 w 7864475"/>
                <a:gd name="connsiteY22" fmla="*/ 0 h 3316661"/>
                <a:gd name="connsiteX0" fmla="*/ 101600 w 7864475"/>
                <a:gd name="connsiteY0" fmla="*/ 0 h 3304977"/>
                <a:gd name="connsiteX1" fmla="*/ 7864475 w 7864475"/>
                <a:gd name="connsiteY1" fmla="*/ 0 h 3304977"/>
                <a:gd name="connsiteX2" fmla="*/ 6397625 w 7864475"/>
                <a:gd name="connsiteY2" fmla="*/ 1628775 h 3304977"/>
                <a:gd name="connsiteX3" fmla="*/ 5264150 w 7864475"/>
                <a:gd name="connsiteY3" fmla="*/ 1628775 h 3304977"/>
                <a:gd name="connsiteX4" fmla="*/ 4606925 w 7864475"/>
                <a:gd name="connsiteY4" fmla="*/ 2390775 h 3304977"/>
                <a:gd name="connsiteX5" fmla="*/ 2054225 w 7864475"/>
                <a:gd name="connsiteY5" fmla="*/ 3267075 h 3304977"/>
                <a:gd name="connsiteX6" fmla="*/ 1139825 w 7864475"/>
                <a:gd name="connsiteY6" fmla="*/ 3143250 h 3304977"/>
                <a:gd name="connsiteX7" fmla="*/ 1082675 w 7864475"/>
                <a:gd name="connsiteY7" fmla="*/ 3114675 h 3304977"/>
                <a:gd name="connsiteX8" fmla="*/ 1054100 w 7864475"/>
                <a:gd name="connsiteY8" fmla="*/ 3095625 h 3304977"/>
                <a:gd name="connsiteX9" fmla="*/ 873125 w 7864475"/>
                <a:gd name="connsiteY9" fmla="*/ 3086100 h 3304977"/>
                <a:gd name="connsiteX10" fmla="*/ 844550 w 7864475"/>
                <a:gd name="connsiteY10" fmla="*/ 3076575 h 3304977"/>
                <a:gd name="connsiteX11" fmla="*/ 644525 w 7864475"/>
                <a:gd name="connsiteY11" fmla="*/ 3057525 h 3304977"/>
                <a:gd name="connsiteX12" fmla="*/ 549275 w 7864475"/>
                <a:gd name="connsiteY12" fmla="*/ 3028950 h 3304977"/>
                <a:gd name="connsiteX13" fmla="*/ 520700 w 7864475"/>
                <a:gd name="connsiteY13" fmla="*/ 3019425 h 3304977"/>
                <a:gd name="connsiteX14" fmla="*/ 492125 w 7864475"/>
                <a:gd name="connsiteY14" fmla="*/ 3009900 h 3304977"/>
                <a:gd name="connsiteX15" fmla="*/ 425450 w 7864475"/>
                <a:gd name="connsiteY15" fmla="*/ 2971800 h 3304977"/>
                <a:gd name="connsiteX16" fmla="*/ 368300 w 7864475"/>
                <a:gd name="connsiteY16" fmla="*/ 2952750 h 3304977"/>
                <a:gd name="connsiteX17" fmla="*/ 25400 w 7864475"/>
                <a:gd name="connsiteY17" fmla="*/ 2752725 h 3304977"/>
                <a:gd name="connsiteX18" fmla="*/ 25400 w 7864475"/>
                <a:gd name="connsiteY18" fmla="*/ 2743200 h 3304977"/>
                <a:gd name="connsiteX19" fmla="*/ 34925 w 7864475"/>
                <a:gd name="connsiteY19" fmla="*/ 0 h 3304977"/>
                <a:gd name="connsiteX20" fmla="*/ 34925 w 7864475"/>
                <a:gd name="connsiteY20" fmla="*/ 0 h 3304977"/>
                <a:gd name="connsiteX21" fmla="*/ 34925 w 7864475"/>
                <a:gd name="connsiteY21" fmla="*/ 0 h 3304977"/>
                <a:gd name="connsiteX0" fmla="*/ 101600 w 7864475"/>
                <a:gd name="connsiteY0" fmla="*/ 0 h 3304977"/>
                <a:gd name="connsiteX1" fmla="*/ 7864475 w 7864475"/>
                <a:gd name="connsiteY1" fmla="*/ 0 h 3304977"/>
                <a:gd name="connsiteX2" fmla="*/ 6397625 w 7864475"/>
                <a:gd name="connsiteY2" fmla="*/ 1628775 h 3304977"/>
                <a:gd name="connsiteX3" fmla="*/ 5264150 w 7864475"/>
                <a:gd name="connsiteY3" fmla="*/ 1628775 h 3304977"/>
                <a:gd name="connsiteX4" fmla="*/ 4606925 w 7864475"/>
                <a:gd name="connsiteY4" fmla="*/ 2390775 h 3304977"/>
                <a:gd name="connsiteX5" fmla="*/ 2054225 w 7864475"/>
                <a:gd name="connsiteY5" fmla="*/ 3267075 h 3304977"/>
                <a:gd name="connsiteX6" fmla="*/ 1139825 w 7864475"/>
                <a:gd name="connsiteY6" fmla="*/ 3143250 h 3304977"/>
                <a:gd name="connsiteX7" fmla="*/ 1082675 w 7864475"/>
                <a:gd name="connsiteY7" fmla="*/ 3114675 h 3304977"/>
                <a:gd name="connsiteX8" fmla="*/ 1054100 w 7864475"/>
                <a:gd name="connsiteY8" fmla="*/ 3095625 h 3304977"/>
                <a:gd name="connsiteX9" fmla="*/ 873125 w 7864475"/>
                <a:gd name="connsiteY9" fmla="*/ 3086100 h 3304977"/>
                <a:gd name="connsiteX10" fmla="*/ 844550 w 7864475"/>
                <a:gd name="connsiteY10" fmla="*/ 3076575 h 3304977"/>
                <a:gd name="connsiteX11" fmla="*/ 644525 w 7864475"/>
                <a:gd name="connsiteY11" fmla="*/ 3057525 h 3304977"/>
                <a:gd name="connsiteX12" fmla="*/ 549275 w 7864475"/>
                <a:gd name="connsiteY12" fmla="*/ 3028950 h 3304977"/>
                <a:gd name="connsiteX13" fmla="*/ 520700 w 7864475"/>
                <a:gd name="connsiteY13" fmla="*/ 3019425 h 3304977"/>
                <a:gd name="connsiteX14" fmla="*/ 492125 w 7864475"/>
                <a:gd name="connsiteY14" fmla="*/ 3009900 h 3304977"/>
                <a:gd name="connsiteX15" fmla="*/ 425450 w 7864475"/>
                <a:gd name="connsiteY15" fmla="*/ 2971800 h 3304977"/>
                <a:gd name="connsiteX16" fmla="*/ 368300 w 7864475"/>
                <a:gd name="connsiteY16" fmla="*/ 2952750 h 3304977"/>
                <a:gd name="connsiteX17" fmla="*/ 25400 w 7864475"/>
                <a:gd name="connsiteY17" fmla="*/ 2752725 h 3304977"/>
                <a:gd name="connsiteX18" fmla="*/ 25400 w 7864475"/>
                <a:gd name="connsiteY18" fmla="*/ 2743200 h 3304977"/>
                <a:gd name="connsiteX19" fmla="*/ 34925 w 7864475"/>
                <a:gd name="connsiteY19" fmla="*/ 0 h 3304977"/>
                <a:gd name="connsiteX20" fmla="*/ 34925 w 7864475"/>
                <a:gd name="connsiteY20" fmla="*/ 0 h 3304977"/>
                <a:gd name="connsiteX21" fmla="*/ 34925 w 7864475"/>
                <a:gd name="connsiteY21" fmla="*/ 0 h 3304977"/>
                <a:gd name="connsiteX0" fmla="*/ 101600 w 7864475"/>
                <a:gd name="connsiteY0" fmla="*/ 0 h 3300312"/>
                <a:gd name="connsiteX1" fmla="*/ 7864475 w 7864475"/>
                <a:gd name="connsiteY1" fmla="*/ 0 h 3300312"/>
                <a:gd name="connsiteX2" fmla="*/ 6397625 w 7864475"/>
                <a:gd name="connsiteY2" fmla="*/ 1628775 h 3300312"/>
                <a:gd name="connsiteX3" fmla="*/ 5264150 w 7864475"/>
                <a:gd name="connsiteY3" fmla="*/ 1628775 h 3300312"/>
                <a:gd name="connsiteX4" fmla="*/ 4606925 w 7864475"/>
                <a:gd name="connsiteY4" fmla="*/ 2390775 h 3300312"/>
                <a:gd name="connsiteX5" fmla="*/ 2054225 w 7864475"/>
                <a:gd name="connsiteY5" fmla="*/ 3267075 h 3300312"/>
                <a:gd name="connsiteX6" fmla="*/ 1082675 w 7864475"/>
                <a:gd name="connsiteY6" fmla="*/ 3114675 h 3300312"/>
                <a:gd name="connsiteX7" fmla="*/ 1054100 w 7864475"/>
                <a:gd name="connsiteY7" fmla="*/ 3095625 h 3300312"/>
                <a:gd name="connsiteX8" fmla="*/ 873125 w 7864475"/>
                <a:gd name="connsiteY8" fmla="*/ 3086100 h 3300312"/>
                <a:gd name="connsiteX9" fmla="*/ 844550 w 7864475"/>
                <a:gd name="connsiteY9" fmla="*/ 3076575 h 3300312"/>
                <a:gd name="connsiteX10" fmla="*/ 644525 w 7864475"/>
                <a:gd name="connsiteY10" fmla="*/ 3057525 h 3300312"/>
                <a:gd name="connsiteX11" fmla="*/ 549275 w 7864475"/>
                <a:gd name="connsiteY11" fmla="*/ 3028950 h 3300312"/>
                <a:gd name="connsiteX12" fmla="*/ 520700 w 7864475"/>
                <a:gd name="connsiteY12" fmla="*/ 3019425 h 3300312"/>
                <a:gd name="connsiteX13" fmla="*/ 492125 w 7864475"/>
                <a:gd name="connsiteY13" fmla="*/ 3009900 h 3300312"/>
                <a:gd name="connsiteX14" fmla="*/ 425450 w 7864475"/>
                <a:gd name="connsiteY14" fmla="*/ 2971800 h 3300312"/>
                <a:gd name="connsiteX15" fmla="*/ 368300 w 7864475"/>
                <a:gd name="connsiteY15" fmla="*/ 2952750 h 3300312"/>
                <a:gd name="connsiteX16" fmla="*/ 25400 w 7864475"/>
                <a:gd name="connsiteY16" fmla="*/ 2752725 h 3300312"/>
                <a:gd name="connsiteX17" fmla="*/ 25400 w 7864475"/>
                <a:gd name="connsiteY17" fmla="*/ 2743200 h 3300312"/>
                <a:gd name="connsiteX18" fmla="*/ 34925 w 7864475"/>
                <a:gd name="connsiteY18" fmla="*/ 0 h 3300312"/>
                <a:gd name="connsiteX19" fmla="*/ 34925 w 7864475"/>
                <a:gd name="connsiteY19" fmla="*/ 0 h 3300312"/>
                <a:gd name="connsiteX20" fmla="*/ 34925 w 7864475"/>
                <a:gd name="connsiteY20" fmla="*/ 0 h 3300312"/>
                <a:gd name="connsiteX0" fmla="*/ 101600 w 7864475"/>
                <a:gd name="connsiteY0" fmla="*/ 0 h 3300459"/>
                <a:gd name="connsiteX1" fmla="*/ 7864475 w 7864475"/>
                <a:gd name="connsiteY1" fmla="*/ 0 h 3300459"/>
                <a:gd name="connsiteX2" fmla="*/ 6397625 w 7864475"/>
                <a:gd name="connsiteY2" fmla="*/ 1628775 h 3300459"/>
                <a:gd name="connsiteX3" fmla="*/ 5264150 w 7864475"/>
                <a:gd name="connsiteY3" fmla="*/ 1628775 h 3300459"/>
                <a:gd name="connsiteX4" fmla="*/ 4606925 w 7864475"/>
                <a:gd name="connsiteY4" fmla="*/ 2390775 h 3300459"/>
                <a:gd name="connsiteX5" fmla="*/ 2054225 w 7864475"/>
                <a:gd name="connsiteY5" fmla="*/ 3267075 h 3300459"/>
                <a:gd name="connsiteX6" fmla="*/ 1082675 w 7864475"/>
                <a:gd name="connsiteY6" fmla="*/ 3114675 h 3300459"/>
                <a:gd name="connsiteX7" fmla="*/ 873125 w 7864475"/>
                <a:gd name="connsiteY7" fmla="*/ 3086100 h 3300459"/>
                <a:gd name="connsiteX8" fmla="*/ 844550 w 7864475"/>
                <a:gd name="connsiteY8" fmla="*/ 3076575 h 3300459"/>
                <a:gd name="connsiteX9" fmla="*/ 644525 w 7864475"/>
                <a:gd name="connsiteY9" fmla="*/ 3057525 h 3300459"/>
                <a:gd name="connsiteX10" fmla="*/ 549275 w 7864475"/>
                <a:gd name="connsiteY10" fmla="*/ 3028950 h 3300459"/>
                <a:gd name="connsiteX11" fmla="*/ 520700 w 7864475"/>
                <a:gd name="connsiteY11" fmla="*/ 3019425 h 3300459"/>
                <a:gd name="connsiteX12" fmla="*/ 492125 w 7864475"/>
                <a:gd name="connsiteY12" fmla="*/ 3009900 h 3300459"/>
                <a:gd name="connsiteX13" fmla="*/ 425450 w 7864475"/>
                <a:gd name="connsiteY13" fmla="*/ 2971800 h 3300459"/>
                <a:gd name="connsiteX14" fmla="*/ 368300 w 7864475"/>
                <a:gd name="connsiteY14" fmla="*/ 2952750 h 3300459"/>
                <a:gd name="connsiteX15" fmla="*/ 25400 w 7864475"/>
                <a:gd name="connsiteY15" fmla="*/ 2752725 h 3300459"/>
                <a:gd name="connsiteX16" fmla="*/ 25400 w 7864475"/>
                <a:gd name="connsiteY16" fmla="*/ 2743200 h 3300459"/>
                <a:gd name="connsiteX17" fmla="*/ 34925 w 7864475"/>
                <a:gd name="connsiteY17" fmla="*/ 0 h 3300459"/>
                <a:gd name="connsiteX18" fmla="*/ 34925 w 7864475"/>
                <a:gd name="connsiteY18" fmla="*/ 0 h 3300459"/>
                <a:gd name="connsiteX19" fmla="*/ 34925 w 7864475"/>
                <a:gd name="connsiteY19" fmla="*/ 0 h 3300459"/>
                <a:gd name="connsiteX0" fmla="*/ 101600 w 7864475"/>
                <a:gd name="connsiteY0" fmla="*/ 0 h 3296209"/>
                <a:gd name="connsiteX1" fmla="*/ 7864475 w 7864475"/>
                <a:gd name="connsiteY1" fmla="*/ 0 h 3296209"/>
                <a:gd name="connsiteX2" fmla="*/ 6397625 w 7864475"/>
                <a:gd name="connsiteY2" fmla="*/ 1628775 h 3296209"/>
                <a:gd name="connsiteX3" fmla="*/ 5264150 w 7864475"/>
                <a:gd name="connsiteY3" fmla="*/ 1628775 h 3296209"/>
                <a:gd name="connsiteX4" fmla="*/ 4606925 w 7864475"/>
                <a:gd name="connsiteY4" fmla="*/ 2390775 h 3296209"/>
                <a:gd name="connsiteX5" fmla="*/ 2054225 w 7864475"/>
                <a:gd name="connsiteY5" fmla="*/ 3267075 h 3296209"/>
                <a:gd name="connsiteX6" fmla="*/ 873125 w 7864475"/>
                <a:gd name="connsiteY6" fmla="*/ 3086100 h 3296209"/>
                <a:gd name="connsiteX7" fmla="*/ 844550 w 7864475"/>
                <a:gd name="connsiteY7" fmla="*/ 3076575 h 3296209"/>
                <a:gd name="connsiteX8" fmla="*/ 644525 w 7864475"/>
                <a:gd name="connsiteY8" fmla="*/ 3057525 h 3296209"/>
                <a:gd name="connsiteX9" fmla="*/ 549275 w 7864475"/>
                <a:gd name="connsiteY9" fmla="*/ 3028950 h 3296209"/>
                <a:gd name="connsiteX10" fmla="*/ 520700 w 7864475"/>
                <a:gd name="connsiteY10" fmla="*/ 3019425 h 3296209"/>
                <a:gd name="connsiteX11" fmla="*/ 492125 w 7864475"/>
                <a:gd name="connsiteY11" fmla="*/ 3009900 h 3296209"/>
                <a:gd name="connsiteX12" fmla="*/ 425450 w 7864475"/>
                <a:gd name="connsiteY12" fmla="*/ 2971800 h 3296209"/>
                <a:gd name="connsiteX13" fmla="*/ 368300 w 7864475"/>
                <a:gd name="connsiteY13" fmla="*/ 2952750 h 3296209"/>
                <a:gd name="connsiteX14" fmla="*/ 25400 w 7864475"/>
                <a:gd name="connsiteY14" fmla="*/ 2752725 h 3296209"/>
                <a:gd name="connsiteX15" fmla="*/ 25400 w 7864475"/>
                <a:gd name="connsiteY15" fmla="*/ 2743200 h 3296209"/>
                <a:gd name="connsiteX16" fmla="*/ 34925 w 7864475"/>
                <a:gd name="connsiteY16" fmla="*/ 0 h 3296209"/>
                <a:gd name="connsiteX17" fmla="*/ 34925 w 7864475"/>
                <a:gd name="connsiteY17" fmla="*/ 0 h 3296209"/>
                <a:gd name="connsiteX18" fmla="*/ 34925 w 7864475"/>
                <a:gd name="connsiteY18" fmla="*/ 0 h 3296209"/>
                <a:gd name="connsiteX0" fmla="*/ 101600 w 7864475"/>
                <a:gd name="connsiteY0" fmla="*/ 0 h 3296209"/>
                <a:gd name="connsiteX1" fmla="*/ 7864475 w 7864475"/>
                <a:gd name="connsiteY1" fmla="*/ 0 h 3296209"/>
                <a:gd name="connsiteX2" fmla="*/ 6397625 w 7864475"/>
                <a:gd name="connsiteY2" fmla="*/ 1628775 h 3296209"/>
                <a:gd name="connsiteX3" fmla="*/ 5264150 w 7864475"/>
                <a:gd name="connsiteY3" fmla="*/ 1628775 h 3296209"/>
                <a:gd name="connsiteX4" fmla="*/ 4606925 w 7864475"/>
                <a:gd name="connsiteY4" fmla="*/ 2390775 h 3296209"/>
                <a:gd name="connsiteX5" fmla="*/ 2054225 w 7864475"/>
                <a:gd name="connsiteY5" fmla="*/ 3267075 h 3296209"/>
                <a:gd name="connsiteX6" fmla="*/ 873125 w 7864475"/>
                <a:gd name="connsiteY6" fmla="*/ 3086100 h 3296209"/>
                <a:gd name="connsiteX7" fmla="*/ 644525 w 7864475"/>
                <a:gd name="connsiteY7" fmla="*/ 3057525 h 3296209"/>
                <a:gd name="connsiteX8" fmla="*/ 549275 w 7864475"/>
                <a:gd name="connsiteY8" fmla="*/ 3028950 h 3296209"/>
                <a:gd name="connsiteX9" fmla="*/ 520700 w 7864475"/>
                <a:gd name="connsiteY9" fmla="*/ 3019425 h 3296209"/>
                <a:gd name="connsiteX10" fmla="*/ 492125 w 7864475"/>
                <a:gd name="connsiteY10" fmla="*/ 3009900 h 3296209"/>
                <a:gd name="connsiteX11" fmla="*/ 425450 w 7864475"/>
                <a:gd name="connsiteY11" fmla="*/ 2971800 h 3296209"/>
                <a:gd name="connsiteX12" fmla="*/ 368300 w 7864475"/>
                <a:gd name="connsiteY12" fmla="*/ 2952750 h 3296209"/>
                <a:gd name="connsiteX13" fmla="*/ 25400 w 7864475"/>
                <a:gd name="connsiteY13" fmla="*/ 2752725 h 3296209"/>
                <a:gd name="connsiteX14" fmla="*/ 25400 w 7864475"/>
                <a:gd name="connsiteY14" fmla="*/ 2743200 h 3296209"/>
                <a:gd name="connsiteX15" fmla="*/ 34925 w 7864475"/>
                <a:gd name="connsiteY15" fmla="*/ 0 h 3296209"/>
                <a:gd name="connsiteX16" fmla="*/ 34925 w 7864475"/>
                <a:gd name="connsiteY16" fmla="*/ 0 h 3296209"/>
                <a:gd name="connsiteX17" fmla="*/ 34925 w 7864475"/>
                <a:gd name="connsiteY17" fmla="*/ 0 h 3296209"/>
                <a:gd name="connsiteX0" fmla="*/ 101600 w 7864475"/>
                <a:gd name="connsiteY0" fmla="*/ 0 h 3296209"/>
                <a:gd name="connsiteX1" fmla="*/ 7864475 w 7864475"/>
                <a:gd name="connsiteY1" fmla="*/ 0 h 3296209"/>
                <a:gd name="connsiteX2" fmla="*/ 6397625 w 7864475"/>
                <a:gd name="connsiteY2" fmla="*/ 1628775 h 3296209"/>
                <a:gd name="connsiteX3" fmla="*/ 5264150 w 7864475"/>
                <a:gd name="connsiteY3" fmla="*/ 1628775 h 3296209"/>
                <a:gd name="connsiteX4" fmla="*/ 4606925 w 7864475"/>
                <a:gd name="connsiteY4" fmla="*/ 2390775 h 3296209"/>
                <a:gd name="connsiteX5" fmla="*/ 2054225 w 7864475"/>
                <a:gd name="connsiteY5" fmla="*/ 3267075 h 3296209"/>
                <a:gd name="connsiteX6" fmla="*/ 873125 w 7864475"/>
                <a:gd name="connsiteY6" fmla="*/ 3086100 h 3296209"/>
                <a:gd name="connsiteX7" fmla="*/ 644525 w 7864475"/>
                <a:gd name="connsiteY7" fmla="*/ 3057525 h 3296209"/>
                <a:gd name="connsiteX8" fmla="*/ 549275 w 7864475"/>
                <a:gd name="connsiteY8" fmla="*/ 3028950 h 3296209"/>
                <a:gd name="connsiteX9" fmla="*/ 520700 w 7864475"/>
                <a:gd name="connsiteY9" fmla="*/ 3019425 h 3296209"/>
                <a:gd name="connsiteX10" fmla="*/ 492125 w 7864475"/>
                <a:gd name="connsiteY10" fmla="*/ 3009900 h 3296209"/>
                <a:gd name="connsiteX11" fmla="*/ 425450 w 7864475"/>
                <a:gd name="connsiteY11" fmla="*/ 2971800 h 3296209"/>
                <a:gd name="connsiteX12" fmla="*/ 368300 w 7864475"/>
                <a:gd name="connsiteY12" fmla="*/ 2952750 h 3296209"/>
                <a:gd name="connsiteX13" fmla="*/ 25400 w 7864475"/>
                <a:gd name="connsiteY13" fmla="*/ 2752725 h 3296209"/>
                <a:gd name="connsiteX14" fmla="*/ 25400 w 7864475"/>
                <a:gd name="connsiteY14" fmla="*/ 2743200 h 3296209"/>
                <a:gd name="connsiteX15" fmla="*/ 34925 w 7864475"/>
                <a:gd name="connsiteY15" fmla="*/ 0 h 3296209"/>
                <a:gd name="connsiteX16" fmla="*/ 34925 w 7864475"/>
                <a:gd name="connsiteY16" fmla="*/ 0 h 3296209"/>
                <a:gd name="connsiteX17" fmla="*/ 34925 w 7864475"/>
                <a:gd name="connsiteY17" fmla="*/ 0 h 3296209"/>
                <a:gd name="connsiteX0" fmla="*/ 101600 w 7864475"/>
                <a:gd name="connsiteY0" fmla="*/ 0 h 3292904"/>
                <a:gd name="connsiteX1" fmla="*/ 7864475 w 7864475"/>
                <a:gd name="connsiteY1" fmla="*/ 0 h 3292904"/>
                <a:gd name="connsiteX2" fmla="*/ 6397625 w 7864475"/>
                <a:gd name="connsiteY2" fmla="*/ 1628775 h 3292904"/>
                <a:gd name="connsiteX3" fmla="*/ 5264150 w 7864475"/>
                <a:gd name="connsiteY3" fmla="*/ 1628775 h 3292904"/>
                <a:gd name="connsiteX4" fmla="*/ 4606925 w 7864475"/>
                <a:gd name="connsiteY4" fmla="*/ 2390775 h 3292904"/>
                <a:gd name="connsiteX5" fmla="*/ 2054225 w 7864475"/>
                <a:gd name="connsiteY5" fmla="*/ 3267075 h 3292904"/>
                <a:gd name="connsiteX6" fmla="*/ 644525 w 7864475"/>
                <a:gd name="connsiteY6" fmla="*/ 3057525 h 3292904"/>
                <a:gd name="connsiteX7" fmla="*/ 549275 w 7864475"/>
                <a:gd name="connsiteY7" fmla="*/ 3028950 h 3292904"/>
                <a:gd name="connsiteX8" fmla="*/ 520700 w 7864475"/>
                <a:gd name="connsiteY8" fmla="*/ 3019425 h 3292904"/>
                <a:gd name="connsiteX9" fmla="*/ 492125 w 7864475"/>
                <a:gd name="connsiteY9" fmla="*/ 3009900 h 3292904"/>
                <a:gd name="connsiteX10" fmla="*/ 425450 w 7864475"/>
                <a:gd name="connsiteY10" fmla="*/ 2971800 h 3292904"/>
                <a:gd name="connsiteX11" fmla="*/ 368300 w 7864475"/>
                <a:gd name="connsiteY11" fmla="*/ 2952750 h 3292904"/>
                <a:gd name="connsiteX12" fmla="*/ 25400 w 7864475"/>
                <a:gd name="connsiteY12" fmla="*/ 2752725 h 3292904"/>
                <a:gd name="connsiteX13" fmla="*/ 25400 w 7864475"/>
                <a:gd name="connsiteY13" fmla="*/ 2743200 h 3292904"/>
                <a:gd name="connsiteX14" fmla="*/ 34925 w 7864475"/>
                <a:gd name="connsiteY14" fmla="*/ 0 h 3292904"/>
                <a:gd name="connsiteX15" fmla="*/ 34925 w 7864475"/>
                <a:gd name="connsiteY15" fmla="*/ 0 h 3292904"/>
                <a:gd name="connsiteX16" fmla="*/ 34925 w 7864475"/>
                <a:gd name="connsiteY16" fmla="*/ 0 h 3292904"/>
                <a:gd name="connsiteX0" fmla="*/ 101600 w 7864475"/>
                <a:gd name="connsiteY0" fmla="*/ 0 h 3292904"/>
                <a:gd name="connsiteX1" fmla="*/ 7864475 w 7864475"/>
                <a:gd name="connsiteY1" fmla="*/ 0 h 3292904"/>
                <a:gd name="connsiteX2" fmla="*/ 6397625 w 7864475"/>
                <a:gd name="connsiteY2" fmla="*/ 1628775 h 3292904"/>
                <a:gd name="connsiteX3" fmla="*/ 5264150 w 7864475"/>
                <a:gd name="connsiteY3" fmla="*/ 1628775 h 3292904"/>
                <a:gd name="connsiteX4" fmla="*/ 4606925 w 7864475"/>
                <a:gd name="connsiteY4" fmla="*/ 2390775 h 3292904"/>
                <a:gd name="connsiteX5" fmla="*/ 2054225 w 7864475"/>
                <a:gd name="connsiteY5" fmla="*/ 3267075 h 3292904"/>
                <a:gd name="connsiteX6" fmla="*/ 644525 w 7864475"/>
                <a:gd name="connsiteY6" fmla="*/ 3057525 h 3292904"/>
                <a:gd name="connsiteX7" fmla="*/ 549275 w 7864475"/>
                <a:gd name="connsiteY7" fmla="*/ 3028950 h 3292904"/>
                <a:gd name="connsiteX8" fmla="*/ 520700 w 7864475"/>
                <a:gd name="connsiteY8" fmla="*/ 3019425 h 3292904"/>
                <a:gd name="connsiteX9" fmla="*/ 492125 w 7864475"/>
                <a:gd name="connsiteY9" fmla="*/ 3009900 h 3292904"/>
                <a:gd name="connsiteX10" fmla="*/ 425450 w 7864475"/>
                <a:gd name="connsiteY10" fmla="*/ 2971800 h 3292904"/>
                <a:gd name="connsiteX11" fmla="*/ 368300 w 7864475"/>
                <a:gd name="connsiteY11" fmla="*/ 2952750 h 3292904"/>
                <a:gd name="connsiteX12" fmla="*/ 25400 w 7864475"/>
                <a:gd name="connsiteY12" fmla="*/ 2752725 h 3292904"/>
                <a:gd name="connsiteX13" fmla="*/ 25400 w 7864475"/>
                <a:gd name="connsiteY13" fmla="*/ 2743200 h 3292904"/>
                <a:gd name="connsiteX14" fmla="*/ 34925 w 7864475"/>
                <a:gd name="connsiteY14" fmla="*/ 0 h 3292904"/>
                <a:gd name="connsiteX15" fmla="*/ 34925 w 7864475"/>
                <a:gd name="connsiteY15" fmla="*/ 0 h 3292904"/>
                <a:gd name="connsiteX16" fmla="*/ 34925 w 7864475"/>
                <a:gd name="connsiteY16" fmla="*/ 0 h 3292904"/>
                <a:gd name="connsiteX0" fmla="*/ 101600 w 7864475"/>
                <a:gd name="connsiteY0" fmla="*/ 0 h 3267075"/>
                <a:gd name="connsiteX1" fmla="*/ 7864475 w 7864475"/>
                <a:gd name="connsiteY1" fmla="*/ 0 h 3267075"/>
                <a:gd name="connsiteX2" fmla="*/ 6397625 w 7864475"/>
                <a:gd name="connsiteY2" fmla="*/ 1628775 h 3267075"/>
                <a:gd name="connsiteX3" fmla="*/ 5264150 w 7864475"/>
                <a:gd name="connsiteY3" fmla="*/ 1628775 h 3267075"/>
                <a:gd name="connsiteX4" fmla="*/ 4606925 w 7864475"/>
                <a:gd name="connsiteY4" fmla="*/ 2390775 h 3267075"/>
                <a:gd name="connsiteX5" fmla="*/ 2054225 w 7864475"/>
                <a:gd name="connsiteY5" fmla="*/ 3267075 h 3267075"/>
                <a:gd name="connsiteX6" fmla="*/ 549275 w 7864475"/>
                <a:gd name="connsiteY6" fmla="*/ 3028950 h 3267075"/>
                <a:gd name="connsiteX7" fmla="*/ 520700 w 7864475"/>
                <a:gd name="connsiteY7" fmla="*/ 3019425 h 3267075"/>
                <a:gd name="connsiteX8" fmla="*/ 492125 w 7864475"/>
                <a:gd name="connsiteY8" fmla="*/ 3009900 h 3267075"/>
                <a:gd name="connsiteX9" fmla="*/ 425450 w 7864475"/>
                <a:gd name="connsiteY9" fmla="*/ 2971800 h 3267075"/>
                <a:gd name="connsiteX10" fmla="*/ 368300 w 7864475"/>
                <a:gd name="connsiteY10" fmla="*/ 2952750 h 3267075"/>
                <a:gd name="connsiteX11" fmla="*/ 25400 w 7864475"/>
                <a:gd name="connsiteY11" fmla="*/ 2752725 h 3267075"/>
                <a:gd name="connsiteX12" fmla="*/ 25400 w 7864475"/>
                <a:gd name="connsiteY12" fmla="*/ 2743200 h 3267075"/>
                <a:gd name="connsiteX13" fmla="*/ 34925 w 7864475"/>
                <a:gd name="connsiteY13" fmla="*/ 0 h 3267075"/>
                <a:gd name="connsiteX14" fmla="*/ 34925 w 7864475"/>
                <a:gd name="connsiteY14" fmla="*/ 0 h 3267075"/>
                <a:gd name="connsiteX15" fmla="*/ 34925 w 7864475"/>
                <a:gd name="connsiteY15" fmla="*/ 0 h 3267075"/>
                <a:gd name="connsiteX0" fmla="*/ 101600 w 7864475"/>
                <a:gd name="connsiteY0" fmla="*/ 0 h 3267075"/>
                <a:gd name="connsiteX1" fmla="*/ 7864475 w 7864475"/>
                <a:gd name="connsiteY1" fmla="*/ 0 h 3267075"/>
                <a:gd name="connsiteX2" fmla="*/ 6397625 w 7864475"/>
                <a:gd name="connsiteY2" fmla="*/ 1628775 h 3267075"/>
                <a:gd name="connsiteX3" fmla="*/ 5264150 w 7864475"/>
                <a:gd name="connsiteY3" fmla="*/ 1628775 h 3267075"/>
                <a:gd name="connsiteX4" fmla="*/ 4606925 w 7864475"/>
                <a:gd name="connsiteY4" fmla="*/ 2390775 h 3267075"/>
                <a:gd name="connsiteX5" fmla="*/ 2054225 w 7864475"/>
                <a:gd name="connsiteY5" fmla="*/ 3267075 h 3267075"/>
                <a:gd name="connsiteX6" fmla="*/ 549275 w 7864475"/>
                <a:gd name="connsiteY6" fmla="*/ 3028950 h 3267075"/>
                <a:gd name="connsiteX7" fmla="*/ 520700 w 7864475"/>
                <a:gd name="connsiteY7" fmla="*/ 3019425 h 3267075"/>
                <a:gd name="connsiteX8" fmla="*/ 425450 w 7864475"/>
                <a:gd name="connsiteY8" fmla="*/ 2971800 h 3267075"/>
                <a:gd name="connsiteX9" fmla="*/ 368300 w 7864475"/>
                <a:gd name="connsiteY9" fmla="*/ 2952750 h 3267075"/>
                <a:gd name="connsiteX10" fmla="*/ 25400 w 7864475"/>
                <a:gd name="connsiteY10" fmla="*/ 2752725 h 3267075"/>
                <a:gd name="connsiteX11" fmla="*/ 25400 w 7864475"/>
                <a:gd name="connsiteY11" fmla="*/ 2743200 h 3267075"/>
                <a:gd name="connsiteX12" fmla="*/ 34925 w 7864475"/>
                <a:gd name="connsiteY12" fmla="*/ 0 h 3267075"/>
                <a:gd name="connsiteX13" fmla="*/ 34925 w 7864475"/>
                <a:gd name="connsiteY13" fmla="*/ 0 h 3267075"/>
                <a:gd name="connsiteX14" fmla="*/ 34925 w 7864475"/>
                <a:gd name="connsiteY14" fmla="*/ 0 h 3267075"/>
                <a:gd name="connsiteX0" fmla="*/ 101600 w 7864475"/>
                <a:gd name="connsiteY0" fmla="*/ 0 h 3267075"/>
                <a:gd name="connsiteX1" fmla="*/ 7864475 w 7864475"/>
                <a:gd name="connsiteY1" fmla="*/ 0 h 3267075"/>
                <a:gd name="connsiteX2" fmla="*/ 6397625 w 7864475"/>
                <a:gd name="connsiteY2" fmla="*/ 1628775 h 3267075"/>
                <a:gd name="connsiteX3" fmla="*/ 5264150 w 7864475"/>
                <a:gd name="connsiteY3" fmla="*/ 1628775 h 3267075"/>
                <a:gd name="connsiteX4" fmla="*/ 4606925 w 7864475"/>
                <a:gd name="connsiteY4" fmla="*/ 2390775 h 3267075"/>
                <a:gd name="connsiteX5" fmla="*/ 2054225 w 7864475"/>
                <a:gd name="connsiteY5" fmla="*/ 3267075 h 3267075"/>
                <a:gd name="connsiteX6" fmla="*/ 549275 w 7864475"/>
                <a:gd name="connsiteY6" fmla="*/ 3028950 h 3267075"/>
                <a:gd name="connsiteX7" fmla="*/ 425450 w 7864475"/>
                <a:gd name="connsiteY7" fmla="*/ 2971800 h 3267075"/>
                <a:gd name="connsiteX8" fmla="*/ 368300 w 7864475"/>
                <a:gd name="connsiteY8" fmla="*/ 2952750 h 3267075"/>
                <a:gd name="connsiteX9" fmla="*/ 25400 w 7864475"/>
                <a:gd name="connsiteY9" fmla="*/ 2752725 h 3267075"/>
                <a:gd name="connsiteX10" fmla="*/ 25400 w 7864475"/>
                <a:gd name="connsiteY10" fmla="*/ 2743200 h 3267075"/>
                <a:gd name="connsiteX11" fmla="*/ 34925 w 7864475"/>
                <a:gd name="connsiteY11" fmla="*/ 0 h 3267075"/>
                <a:gd name="connsiteX12" fmla="*/ 34925 w 7864475"/>
                <a:gd name="connsiteY12" fmla="*/ 0 h 3267075"/>
                <a:gd name="connsiteX13" fmla="*/ 34925 w 7864475"/>
                <a:gd name="connsiteY13" fmla="*/ 0 h 3267075"/>
                <a:gd name="connsiteX0" fmla="*/ 105833 w 7868708"/>
                <a:gd name="connsiteY0" fmla="*/ 0 h 3267075"/>
                <a:gd name="connsiteX1" fmla="*/ 7868708 w 7868708"/>
                <a:gd name="connsiteY1" fmla="*/ 0 h 3267075"/>
                <a:gd name="connsiteX2" fmla="*/ 6401858 w 7868708"/>
                <a:gd name="connsiteY2" fmla="*/ 1628775 h 3267075"/>
                <a:gd name="connsiteX3" fmla="*/ 5268383 w 7868708"/>
                <a:gd name="connsiteY3" fmla="*/ 1628775 h 3267075"/>
                <a:gd name="connsiteX4" fmla="*/ 4611158 w 7868708"/>
                <a:gd name="connsiteY4" fmla="*/ 2390775 h 3267075"/>
                <a:gd name="connsiteX5" fmla="*/ 2058458 w 7868708"/>
                <a:gd name="connsiteY5" fmla="*/ 3267075 h 3267075"/>
                <a:gd name="connsiteX6" fmla="*/ 553508 w 7868708"/>
                <a:gd name="connsiteY6" fmla="*/ 3028950 h 3267075"/>
                <a:gd name="connsiteX7" fmla="*/ 429683 w 7868708"/>
                <a:gd name="connsiteY7" fmla="*/ 2971800 h 3267075"/>
                <a:gd name="connsiteX8" fmla="*/ 29633 w 7868708"/>
                <a:gd name="connsiteY8" fmla="*/ 2752725 h 3267075"/>
                <a:gd name="connsiteX9" fmla="*/ 29633 w 7868708"/>
                <a:gd name="connsiteY9" fmla="*/ 2743200 h 3267075"/>
                <a:gd name="connsiteX10" fmla="*/ 39158 w 7868708"/>
                <a:gd name="connsiteY10" fmla="*/ 0 h 3267075"/>
                <a:gd name="connsiteX11" fmla="*/ 39158 w 7868708"/>
                <a:gd name="connsiteY11" fmla="*/ 0 h 3267075"/>
                <a:gd name="connsiteX12" fmla="*/ 39158 w 7868708"/>
                <a:gd name="connsiteY12" fmla="*/ 0 h 3267075"/>
                <a:gd name="connsiteX0" fmla="*/ 115005 w 7877880"/>
                <a:gd name="connsiteY0" fmla="*/ 0 h 3267075"/>
                <a:gd name="connsiteX1" fmla="*/ 7877880 w 7877880"/>
                <a:gd name="connsiteY1" fmla="*/ 0 h 3267075"/>
                <a:gd name="connsiteX2" fmla="*/ 6411030 w 7877880"/>
                <a:gd name="connsiteY2" fmla="*/ 1628775 h 3267075"/>
                <a:gd name="connsiteX3" fmla="*/ 5277555 w 7877880"/>
                <a:gd name="connsiteY3" fmla="*/ 1628775 h 3267075"/>
                <a:gd name="connsiteX4" fmla="*/ 4620330 w 7877880"/>
                <a:gd name="connsiteY4" fmla="*/ 2390775 h 3267075"/>
                <a:gd name="connsiteX5" fmla="*/ 2067630 w 7877880"/>
                <a:gd name="connsiteY5" fmla="*/ 3267075 h 3267075"/>
                <a:gd name="connsiteX6" fmla="*/ 562680 w 7877880"/>
                <a:gd name="connsiteY6" fmla="*/ 3028950 h 3267075"/>
                <a:gd name="connsiteX7" fmla="*/ 38805 w 7877880"/>
                <a:gd name="connsiteY7" fmla="*/ 2752725 h 3267075"/>
                <a:gd name="connsiteX8" fmla="*/ 38805 w 7877880"/>
                <a:gd name="connsiteY8" fmla="*/ 2743200 h 3267075"/>
                <a:gd name="connsiteX9" fmla="*/ 48330 w 7877880"/>
                <a:gd name="connsiteY9" fmla="*/ 0 h 3267075"/>
                <a:gd name="connsiteX10" fmla="*/ 48330 w 7877880"/>
                <a:gd name="connsiteY10" fmla="*/ 0 h 3267075"/>
                <a:gd name="connsiteX11" fmla="*/ 48330 w 7877880"/>
                <a:gd name="connsiteY11" fmla="*/ 0 h 3267075"/>
                <a:gd name="connsiteX0" fmla="*/ 115005 w 7877880"/>
                <a:gd name="connsiteY0" fmla="*/ 0 h 3292320"/>
                <a:gd name="connsiteX1" fmla="*/ 7877880 w 7877880"/>
                <a:gd name="connsiteY1" fmla="*/ 0 h 3292320"/>
                <a:gd name="connsiteX2" fmla="*/ 6411030 w 7877880"/>
                <a:gd name="connsiteY2" fmla="*/ 1628775 h 3292320"/>
                <a:gd name="connsiteX3" fmla="*/ 5277555 w 7877880"/>
                <a:gd name="connsiteY3" fmla="*/ 1628775 h 3292320"/>
                <a:gd name="connsiteX4" fmla="*/ 4620330 w 7877880"/>
                <a:gd name="connsiteY4" fmla="*/ 2390775 h 3292320"/>
                <a:gd name="connsiteX5" fmla="*/ 2067630 w 7877880"/>
                <a:gd name="connsiteY5" fmla="*/ 3267075 h 3292320"/>
                <a:gd name="connsiteX6" fmla="*/ 562680 w 7877880"/>
                <a:gd name="connsiteY6" fmla="*/ 3028950 h 3292320"/>
                <a:gd name="connsiteX7" fmla="*/ 38805 w 7877880"/>
                <a:gd name="connsiteY7" fmla="*/ 2752725 h 3292320"/>
                <a:gd name="connsiteX8" fmla="*/ 38805 w 7877880"/>
                <a:gd name="connsiteY8" fmla="*/ 2743200 h 3292320"/>
                <a:gd name="connsiteX9" fmla="*/ 48330 w 7877880"/>
                <a:gd name="connsiteY9" fmla="*/ 0 h 3292320"/>
                <a:gd name="connsiteX10" fmla="*/ 48330 w 7877880"/>
                <a:gd name="connsiteY10" fmla="*/ 0 h 3292320"/>
                <a:gd name="connsiteX11" fmla="*/ 48330 w 7877880"/>
                <a:gd name="connsiteY11" fmla="*/ 0 h 3292320"/>
                <a:gd name="connsiteX0" fmla="*/ 115005 w 7877880"/>
                <a:gd name="connsiteY0" fmla="*/ 0 h 3341037"/>
                <a:gd name="connsiteX1" fmla="*/ 7877880 w 7877880"/>
                <a:gd name="connsiteY1" fmla="*/ 0 h 3341037"/>
                <a:gd name="connsiteX2" fmla="*/ 6411030 w 7877880"/>
                <a:gd name="connsiteY2" fmla="*/ 1628775 h 3341037"/>
                <a:gd name="connsiteX3" fmla="*/ 5277555 w 7877880"/>
                <a:gd name="connsiteY3" fmla="*/ 1628775 h 3341037"/>
                <a:gd name="connsiteX4" fmla="*/ 2067630 w 7877880"/>
                <a:gd name="connsiteY4" fmla="*/ 3267075 h 3341037"/>
                <a:gd name="connsiteX5" fmla="*/ 562680 w 7877880"/>
                <a:gd name="connsiteY5" fmla="*/ 3028950 h 3341037"/>
                <a:gd name="connsiteX6" fmla="*/ 38805 w 7877880"/>
                <a:gd name="connsiteY6" fmla="*/ 2752725 h 3341037"/>
                <a:gd name="connsiteX7" fmla="*/ 38805 w 7877880"/>
                <a:gd name="connsiteY7" fmla="*/ 2743200 h 3341037"/>
                <a:gd name="connsiteX8" fmla="*/ 48330 w 7877880"/>
                <a:gd name="connsiteY8" fmla="*/ 0 h 3341037"/>
                <a:gd name="connsiteX9" fmla="*/ 48330 w 7877880"/>
                <a:gd name="connsiteY9" fmla="*/ 0 h 3341037"/>
                <a:gd name="connsiteX10" fmla="*/ 48330 w 7877880"/>
                <a:gd name="connsiteY10" fmla="*/ 0 h 3341037"/>
                <a:gd name="connsiteX0" fmla="*/ 115005 w 7877880"/>
                <a:gd name="connsiteY0" fmla="*/ 0 h 3226122"/>
                <a:gd name="connsiteX1" fmla="*/ 7877880 w 7877880"/>
                <a:gd name="connsiteY1" fmla="*/ 0 h 3226122"/>
                <a:gd name="connsiteX2" fmla="*/ 6411030 w 7877880"/>
                <a:gd name="connsiteY2" fmla="*/ 1628775 h 3226122"/>
                <a:gd name="connsiteX3" fmla="*/ 5277555 w 7877880"/>
                <a:gd name="connsiteY3" fmla="*/ 1628775 h 3226122"/>
                <a:gd name="connsiteX4" fmla="*/ 3086805 w 7877880"/>
                <a:gd name="connsiteY4" fmla="*/ 3133725 h 3226122"/>
                <a:gd name="connsiteX5" fmla="*/ 562680 w 7877880"/>
                <a:gd name="connsiteY5" fmla="*/ 3028950 h 3226122"/>
                <a:gd name="connsiteX6" fmla="*/ 38805 w 7877880"/>
                <a:gd name="connsiteY6" fmla="*/ 2752725 h 3226122"/>
                <a:gd name="connsiteX7" fmla="*/ 38805 w 7877880"/>
                <a:gd name="connsiteY7" fmla="*/ 2743200 h 3226122"/>
                <a:gd name="connsiteX8" fmla="*/ 48330 w 7877880"/>
                <a:gd name="connsiteY8" fmla="*/ 0 h 3226122"/>
                <a:gd name="connsiteX9" fmla="*/ 48330 w 7877880"/>
                <a:gd name="connsiteY9" fmla="*/ 0 h 3226122"/>
                <a:gd name="connsiteX10" fmla="*/ 48330 w 7877880"/>
                <a:gd name="connsiteY10" fmla="*/ 0 h 3226122"/>
                <a:gd name="connsiteX0" fmla="*/ 115005 w 7877880"/>
                <a:gd name="connsiteY0" fmla="*/ 0 h 3223170"/>
                <a:gd name="connsiteX1" fmla="*/ 7877880 w 7877880"/>
                <a:gd name="connsiteY1" fmla="*/ 0 h 3223170"/>
                <a:gd name="connsiteX2" fmla="*/ 6411030 w 7877880"/>
                <a:gd name="connsiteY2" fmla="*/ 1628775 h 3223170"/>
                <a:gd name="connsiteX3" fmla="*/ 5277555 w 7877880"/>
                <a:gd name="connsiteY3" fmla="*/ 1628775 h 3223170"/>
                <a:gd name="connsiteX4" fmla="*/ 3086805 w 7877880"/>
                <a:gd name="connsiteY4" fmla="*/ 3133725 h 3223170"/>
                <a:gd name="connsiteX5" fmla="*/ 562680 w 7877880"/>
                <a:gd name="connsiteY5" fmla="*/ 3028950 h 3223170"/>
                <a:gd name="connsiteX6" fmla="*/ 38805 w 7877880"/>
                <a:gd name="connsiteY6" fmla="*/ 2752725 h 3223170"/>
                <a:gd name="connsiteX7" fmla="*/ 38805 w 7877880"/>
                <a:gd name="connsiteY7" fmla="*/ 2743200 h 3223170"/>
                <a:gd name="connsiteX8" fmla="*/ 48330 w 7877880"/>
                <a:gd name="connsiteY8" fmla="*/ 0 h 3223170"/>
                <a:gd name="connsiteX9" fmla="*/ 48330 w 7877880"/>
                <a:gd name="connsiteY9" fmla="*/ 0 h 3223170"/>
                <a:gd name="connsiteX10" fmla="*/ 48330 w 7877880"/>
                <a:gd name="connsiteY10" fmla="*/ 0 h 3223170"/>
                <a:gd name="connsiteX0" fmla="*/ 115005 w 7877880"/>
                <a:gd name="connsiteY0" fmla="*/ 0 h 3223170"/>
                <a:gd name="connsiteX1" fmla="*/ 7877880 w 7877880"/>
                <a:gd name="connsiteY1" fmla="*/ 0 h 3223170"/>
                <a:gd name="connsiteX2" fmla="*/ 6411030 w 7877880"/>
                <a:gd name="connsiteY2" fmla="*/ 1628775 h 3223170"/>
                <a:gd name="connsiteX3" fmla="*/ 5277555 w 7877880"/>
                <a:gd name="connsiteY3" fmla="*/ 1628775 h 3223170"/>
                <a:gd name="connsiteX4" fmla="*/ 3086805 w 7877880"/>
                <a:gd name="connsiteY4" fmla="*/ 3133725 h 3223170"/>
                <a:gd name="connsiteX5" fmla="*/ 562680 w 7877880"/>
                <a:gd name="connsiteY5" fmla="*/ 3028950 h 3223170"/>
                <a:gd name="connsiteX6" fmla="*/ 38805 w 7877880"/>
                <a:gd name="connsiteY6" fmla="*/ 2752725 h 3223170"/>
                <a:gd name="connsiteX7" fmla="*/ 38805 w 7877880"/>
                <a:gd name="connsiteY7" fmla="*/ 2743200 h 3223170"/>
                <a:gd name="connsiteX8" fmla="*/ 48330 w 7877880"/>
                <a:gd name="connsiteY8" fmla="*/ 0 h 3223170"/>
                <a:gd name="connsiteX9" fmla="*/ 48330 w 7877880"/>
                <a:gd name="connsiteY9" fmla="*/ 0 h 3223170"/>
                <a:gd name="connsiteX10" fmla="*/ 48330 w 7877880"/>
                <a:gd name="connsiteY10" fmla="*/ 0 h 3223170"/>
                <a:gd name="connsiteX0" fmla="*/ 115005 w 7877880"/>
                <a:gd name="connsiteY0" fmla="*/ 0 h 3247106"/>
                <a:gd name="connsiteX1" fmla="*/ 7877880 w 7877880"/>
                <a:gd name="connsiteY1" fmla="*/ 0 h 3247106"/>
                <a:gd name="connsiteX2" fmla="*/ 6411030 w 7877880"/>
                <a:gd name="connsiteY2" fmla="*/ 1628775 h 3247106"/>
                <a:gd name="connsiteX3" fmla="*/ 5277555 w 7877880"/>
                <a:gd name="connsiteY3" fmla="*/ 1628775 h 3247106"/>
                <a:gd name="connsiteX4" fmla="*/ 3039180 w 7877880"/>
                <a:gd name="connsiteY4" fmla="*/ 3162300 h 3247106"/>
                <a:gd name="connsiteX5" fmla="*/ 562680 w 7877880"/>
                <a:gd name="connsiteY5" fmla="*/ 3028950 h 3247106"/>
                <a:gd name="connsiteX6" fmla="*/ 38805 w 7877880"/>
                <a:gd name="connsiteY6" fmla="*/ 2752725 h 3247106"/>
                <a:gd name="connsiteX7" fmla="*/ 38805 w 7877880"/>
                <a:gd name="connsiteY7" fmla="*/ 2743200 h 3247106"/>
                <a:gd name="connsiteX8" fmla="*/ 48330 w 7877880"/>
                <a:gd name="connsiteY8" fmla="*/ 0 h 3247106"/>
                <a:gd name="connsiteX9" fmla="*/ 48330 w 7877880"/>
                <a:gd name="connsiteY9" fmla="*/ 0 h 3247106"/>
                <a:gd name="connsiteX10" fmla="*/ 48330 w 7877880"/>
                <a:gd name="connsiteY10" fmla="*/ 0 h 3247106"/>
                <a:gd name="connsiteX0" fmla="*/ 115005 w 7877880"/>
                <a:gd name="connsiteY0" fmla="*/ 0 h 3246866"/>
                <a:gd name="connsiteX1" fmla="*/ 7877880 w 7877880"/>
                <a:gd name="connsiteY1" fmla="*/ 0 h 3246866"/>
                <a:gd name="connsiteX2" fmla="*/ 6411030 w 7877880"/>
                <a:gd name="connsiteY2" fmla="*/ 1628775 h 3246866"/>
                <a:gd name="connsiteX3" fmla="*/ 5277555 w 7877880"/>
                <a:gd name="connsiteY3" fmla="*/ 1628775 h 3246866"/>
                <a:gd name="connsiteX4" fmla="*/ 3039180 w 7877880"/>
                <a:gd name="connsiteY4" fmla="*/ 3162300 h 3246866"/>
                <a:gd name="connsiteX5" fmla="*/ 562680 w 7877880"/>
                <a:gd name="connsiteY5" fmla="*/ 3028950 h 3246866"/>
                <a:gd name="connsiteX6" fmla="*/ 38805 w 7877880"/>
                <a:gd name="connsiteY6" fmla="*/ 2752725 h 3246866"/>
                <a:gd name="connsiteX7" fmla="*/ 38805 w 7877880"/>
                <a:gd name="connsiteY7" fmla="*/ 2743200 h 3246866"/>
                <a:gd name="connsiteX8" fmla="*/ 48330 w 7877880"/>
                <a:gd name="connsiteY8" fmla="*/ 0 h 3246866"/>
                <a:gd name="connsiteX9" fmla="*/ 48330 w 7877880"/>
                <a:gd name="connsiteY9" fmla="*/ 0 h 3246866"/>
                <a:gd name="connsiteX10" fmla="*/ 48330 w 7877880"/>
                <a:gd name="connsiteY10" fmla="*/ 0 h 3246866"/>
                <a:gd name="connsiteX0" fmla="*/ 115005 w 7877880"/>
                <a:gd name="connsiteY0" fmla="*/ 0 h 3263770"/>
                <a:gd name="connsiteX1" fmla="*/ 7877880 w 7877880"/>
                <a:gd name="connsiteY1" fmla="*/ 0 h 3263770"/>
                <a:gd name="connsiteX2" fmla="*/ 6411030 w 7877880"/>
                <a:gd name="connsiteY2" fmla="*/ 1628775 h 3263770"/>
                <a:gd name="connsiteX3" fmla="*/ 5277555 w 7877880"/>
                <a:gd name="connsiteY3" fmla="*/ 1628775 h 3263770"/>
                <a:gd name="connsiteX4" fmla="*/ 3039180 w 7877880"/>
                <a:gd name="connsiteY4" fmla="*/ 3162300 h 3263770"/>
                <a:gd name="connsiteX5" fmla="*/ 562680 w 7877880"/>
                <a:gd name="connsiteY5" fmla="*/ 3028950 h 3263770"/>
                <a:gd name="connsiteX6" fmla="*/ 38805 w 7877880"/>
                <a:gd name="connsiteY6" fmla="*/ 2752725 h 3263770"/>
                <a:gd name="connsiteX7" fmla="*/ 38805 w 7877880"/>
                <a:gd name="connsiteY7" fmla="*/ 2743200 h 3263770"/>
                <a:gd name="connsiteX8" fmla="*/ 48330 w 7877880"/>
                <a:gd name="connsiteY8" fmla="*/ 0 h 3263770"/>
                <a:gd name="connsiteX9" fmla="*/ 48330 w 7877880"/>
                <a:gd name="connsiteY9" fmla="*/ 0 h 3263770"/>
                <a:gd name="connsiteX10" fmla="*/ 48330 w 7877880"/>
                <a:gd name="connsiteY10" fmla="*/ 0 h 3263770"/>
                <a:gd name="connsiteX0" fmla="*/ 136172 w 7899047"/>
                <a:gd name="connsiteY0" fmla="*/ 0 h 3287025"/>
                <a:gd name="connsiteX1" fmla="*/ 7899047 w 7899047"/>
                <a:gd name="connsiteY1" fmla="*/ 0 h 3287025"/>
                <a:gd name="connsiteX2" fmla="*/ 6432197 w 7899047"/>
                <a:gd name="connsiteY2" fmla="*/ 1628775 h 3287025"/>
                <a:gd name="connsiteX3" fmla="*/ 5298722 w 7899047"/>
                <a:gd name="connsiteY3" fmla="*/ 1628775 h 3287025"/>
                <a:gd name="connsiteX4" fmla="*/ 3060347 w 7899047"/>
                <a:gd name="connsiteY4" fmla="*/ 3162300 h 3287025"/>
                <a:gd name="connsiteX5" fmla="*/ 869597 w 7899047"/>
                <a:gd name="connsiteY5" fmla="*/ 3086100 h 3287025"/>
                <a:gd name="connsiteX6" fmla="*/ 59972 w 7899047"/>
                <a:gd name="connsiteY6" fmla="*/ 2752725 h 3287025"/>
                <a:gd name="connsiteX7" fmla="*/ 59972 w 7899047"/>
                <a:gd name="connsiteY7" fmla="*/ 2743200 h 3287025"/>
                <a:gd name="connsiteX8" fmla="*/ 69497 w 7899047"/>
                <a:gd name="connsiteY8" fmla="*/ 0 h 3287025"/>
                <a:gd name="connsiteX9" fmla="*/ 69497 w 7899047"/>
                <a:gd name="connsiteY9" fmla="*/ 0 h 3287025"/>
                <a:gd name="connsiteX10" fmla="*/ 69497 w 7899047"/>
                <a:gd name="connsiteY10" fmla="*/ 0 h 3287025"/>
                <a:gd name="connsiteX0" fmla="*/ 136172 w 7899047"/>
                <a:gd name="connsiteY0" fmla="*/ 0 h 3245268"/>
                <a:gd name="connsiteX1" fmla="*/ 7899047 w 7899047"/>
                <a:gd name="connsiteY1" fmla="*/ 0 h 3245268"/>
                <a:gd name="connsiteX2" fmla="*/ 6432197 w 7899047"/>
                <a:gd name="connsiteY2" fmla="*/ 1628775 h 3245268"/>
                <a:gd name="connsiteX3" fmla="*/ 5298722 w 7899047"/>
                <a:gd name="connsiteY3" fmla="*/ 1628775 h 3245268"/>
                <a:gd name="connsiteX4" fmla="*/ 3060347 w 7899047"/>
                <a:gd name="connsiteY4" fmla="*/ 3162300 h 3245268"/>
                <a:gd name="connsiteX5" fmla="*/ 869597 w 7899047"/>
                <a:gd name="connsiteY5" fmla="*/ 3086100 h 3245268"/>
                <a:gd name="connsiteX6" fmla="*/ 59972 w 7899047"/>
                <a:gd name="connsiteY6" fmla="*/ 2752725 h 3245268"/>
                <a:gd name="connsiteX7" fmla="*/ 59972 w 7899047"/>
                <a:gd name="connsiteY7" fmla="*/ 2743200 h 3245268"/>
                <a:gd name="connsiteX8" fmla="*/ 69497 w 7899047"/>
                <a:gd name="connsiteY8" fmla="*/ 0 h 3245268"/>
                <a:gd name="connsiteX9" fmla="*/ 69497 w 7899047"/>
                <a:gd name="connsiteY9" fmla="*/ 0 h 3245268"/>
                <a:gd name="connsiteX10" fmla="*/ 69497 w 7899047"/>
                <a:gd name="connsiteY10" fmla="*/ 0 h 3245268"/>
                <a:gd name="connsiteX0" fmla="*/ 136172 w 7899047"/>
                <a:gd name="connsiteY0" fmla="*/ 0 h 3245268"/>
                <a:gd name="connsiteX1" fmla="*/ 7899047 w 7899047"/>
                <a:gd name="connsiteY1" fmla="*/ 0 h 3245268"/>
                <a:gd name="connsiteX2" fmla="*/ 6432197 w 7899047"/>
                <a:gd name="connsiteY2" fmla="*/ 1628775 h 3245268"/>
                <a:gd name="connsiteX3" fmla="*/ 5298722 w 7899047"/>
                <a:gd name="connsiteY3" fmla="*/ 1628775 h 3245268"/>
                <a:gd name="connsiteX4" fmla="*/ 3060347 w 7899047"/>
                <a:gd name="connsiteY4" fmla="*/ 3162300 h 3245268"/>
                <a:gd name="connsiteX5" fmla="*/ 869597 w 7899047"/>
                <a:gd name="connsiteY5" fmla="*/ 3086100 h 3245268"/>
                <a:gd name="connsiteX6" fmla="*/ 59972 w 7899047"/>
                <a:gd name="connsiteY6" fmla="*/ 2752725 h 3245268"/>
                <a:gd name="connsiteX7" fmla="*/ 59972 w 7899047"/>
                <a:gd name="connsiteY7" fmla="*/ 2743200 h 3245268"/>
                <a:gd name="connsiteX8" fmla="*/ 69497 w 7899047"/>
                <a:gd name="connsiteY8" fmla="*/ 0 h 3245268"/>
                <a:gd name="connsiteX9" fmla="*/ 69497 w 7899047"/>
                <a:gd name="connsiteY9" fmla="*/ 0 h 3245268"/>
                <a:gd name="connsiteX10" fmla="*/ 69497 w 7899047"/>
                <a:gd name="connsiteY10" fmla="*/ 0 h 3245268"/>
                <a:gd name="connsiteX0" fmla="*/ 136172 w 7899047"/>
                <a:gd name="connsiteY0" fmla="*/ 0 h 3223853"/>
                <a:gd name="connsiteX1" fmla="*/ 7899047 w 7899047"/>
                <a:gd name="connsiteY1" fmla="*/ 0 h 3223853"/>
                <a:gd name="connsiteX2" fmla="*/ 6432197 w 7899047"/>
                <a:gd name="connsiteY2" fmla="*/ 1628775 h 3223853"/>
                <a:gd name="connsiteX3" fmla="*/ 5298722 w 7899047"/>
                <a:gd name="connsiteY3" fmla="*/ 1628775 h 3223853"/>
                <a:gd name="connsiteX4" fmla="*/ 3041297 w 7899047"/>
                <a:gd name="connsiteY4" fmla="*/ 3162300 h 3223853"/>
                <a:gd name="connsiteX5" fmla="*/ 869597 w 7899047"/>
                <a:gd name="connsiteY5" fmla="*/ 3086100 h 3223853"/>
                <a:gd name="connsiteX6" fmla="*/ 59972 w 7899047"/>
                <a:gd name="connsiteY6" fmla="*/ 2752725 h 3223853"/>
                <a:gd name="connsiteX7" fmla="*/ 59972 w 7899047"/>
                <a:gd name="connsiteY7" fmla="*/ 2743200 h 3223853"/>
                <a:gd name="connsiteX8" fmla="*/ 69497 w 7899047"/>
                <a:gd name="connsiteY8" fmla="*/ 0 h 3223853"/>
                <a:gd name="connsiteX9" fmla="*/ 69497 w 7899047"/>
                <a:gd name="connsiteY9" fmla="*/ 0 h 3223853"/>
                <a:gd name="connsiteX10" fmla="*/ 69497 w 7899047"/>
                <a:gd name="connsiteY10" fmla="*/ 0 h 3223853"/>
                <a:gd name="connsiteX0" fmla="*/ 136172 w 7899047"/>
                <a:gd name="connsiteY0" fmla="*/ 0 h 3266003"/>
                <a:gd name="connsiteX1" fmla="*/ 7899047 w 7899047"/>
                <a:gd name="connsiteY1" fmla="*/ 0 h 3266003"/>
                <a:gd name="connsiteX2" fmla="*/ 6432197 w 7899047"/>
                <a:gd name="connsiteY2" fmla="*/ 1628775 h 3266003"/>
                <a:gd name="connsiteX3" fmla="*/ 5298722 w 7899047"/>
                <a:gd name="connsiteY3" fmla="*/ 1628775 h 3266003"/>
                <a:gd name="connsiteX4" fmla="*/ 3041297 w 7899047"/>
                <a:gd name="connsiteY4" fmla="*/ 3162300 h 3266003"/>
                <a:gd name="connsiteX5" fmla="*/ 869597 w 7899047"/>
                <a:gd name="connsiteY5" fmla="*/ 3086100 h 3266003"/>
                <a:gd name="connsiteX6" fmla="*/ 59972 w 7899047"/>
                <a:gd name="connsiteY6" fmla="*/ 2752725 h 3266003"/>
                <a:gd name="connsiteX7" fmla="*/ 59972 w 7899047"/>
                <a:gd name="connsiteY7" fmla="*/ 2743200 h 3266003"/>
                <a:gd name="connsiteX8" fmla="*/ 69497 w 7899047"/>
                <a:gd name="connsiteY8" fmla="*/ 0 h 3266003"/>
                <a:gd name="connsiteX9" fmla="*/ 69497 w 7899047"/>
                <a:gd name="connsiteY9" fmla="*/ 0 h 3266003"/>
                <a:gd name="connsiteX10" fmla="*/ 69497 w 7899047"/>
                <a:gd name="connsiteY10" fmla="*/ 0 h 3266003"/>
                <a:gd name="connsiteX0" fmla="*/ 297038 w 8059913"/>
                <a:gd name="connsiteY0" fmla="*/ 0 h 3202330"/>
                <a:gd name="connsiteX1" fmla="*/ 8059913 w 8059913"/>
                <a:gd name="connsiteY1" fmla="*/ 0 h 3202330"/>
                <a:gd name="connsiteX2" fmla="*/ 6593063 w 8059913"/>
                <a:gd name="connsiteY2" fmla="*/ 1628775 h 3202330"/>
                <a:gd name="connsiteX3" fmla="*/ 5459588 w 8059913"/>
                <a:gd name="connsiteY3" fmla="*/ 1628775 h 3202330"/>
                <a:gd name="connsiteX4" fmla="*/ 3202163 w 8059913"/>
                <a:gd name="connsiteY4" fmla="*/ 3162300 h 3202330"/>
                <a:gd name="connsiteX5" fmla="*/ 220838 w 8059913"/>
                <a:gd name="connsiteY5" fmla="*/ 2752725 h 3202330"/>
                <a:gd name="connsiteX6" fmla="*/ 220838 w 8059913"/>
                <a:gd name="connsiteY6" fmla="*/ 2743200 h 3202330"/>
                <a:gd name="connsiteX7" fmla="*/ 230363 w 8059913"/>
                <a:gd name="connsiteY7" fmla="*/ 0 h 3202330"/>
                <a:gd name="connsiteX8" fmla="*/ 230363 w 8059913"/>
                <a:gd name="connsiteY8" fmla="*/ 0 h 3202330"/>
                <a:gd name="connsiteX9" fmla="*/ 230363 w 8059913"/>
                <a:gd name="connsiteY9" fmla="*/ 0 h 3202330"/>
                <a:gd name="connsiteX0" fmla="*/ 244123 w 8006998"/>
                <a:gd name="connsiteY0" fmla="*/ 0 h 3238500"/>
                <a:gd name="connsiteX1" fmla="*/ 8006998 w 8006998"/>
                <a:gd name="connsiteY1" fmla="*/ 0 h 3238500"/>
                <a:gd name="connsiteX2" fmla="*/ 6540148 w 8006998"/>
                <a:gd name="connsiteY2" fmla="*/ 1628775 h 3238500"/>
                <a:gd name="connsiteX3" fmla="*/ 5406673 w 8006998"/>
                <a:gd name="connsiteY3" fmla="*/ 1628775 h 3238500"/>
                <a:gd name="connsiteX4" fmla="*/ 2434873 w 8006998"/>
                <a:gd name="connsiteY4" fmla="*/ 3238500 h 3238500"/>
                <a:gd name="connsiteX5" fmla="*/ 167923 w 8006998"/>
                <a:gd name="connsiteY5" fmla="*/ 2752725 h 3238500"/>
                <a:gd name="connsiteX6" fmla="*/ 167923 w 8006998"/>
                <a:gd name="connsiteY6" fmla="*/ 2743200 h 3238500"/>
                <a:gd name="connsiteX7" fmla="*/ 177448 w 8006998"/>
                <a:gd name="connsiteY7" fmla="*/ 0 h 3238500"/>
                <a:gd name="connsiteX8" fmla="*/ 177448 w 8006998"/>
                <a:gd name="connsiteY8" fmla="*/ 0 h 3238500"/>
                <a:gd name="connsiteX9" fmla="*/ 177448 w 8006998"/>
                <a:gd name="connsiteY9" fmla="*/ 0 h 3238500"/>
                <a:gd name="connsiteX0" fmla="*/ 244123 w 8006998"/>
                <a:gd name="connsiteY0" fmla="*/ 0 h 3242774"/>
                <a:gd name="connsiteX1" fmla="*/ 8006998 w 8006998"/>
                <a:gd name="connsiteY1" fmla="*/ 0 h 3242774"/>
                <a:gd name="connsiteX2" fmla="*/ 6540148 w 8006998"/>
                <a:gd name="connsiteY2" fmla="*/ 1628775 h 3242774"/>
                <a:gd name="connsiteX3" fmla="*/ 5406673 w 8006998"/>
                <a:gd name="connsiteY3" fmla="*/ 1628775 h 3242774"/>
                <a:gd name="connsiteX4" fmla="*/ 2434873 w 8006998"/>
                <a:gd name="connsiteY4" fmla="*/ 3238500 h 3242774"/>
                <a:gd name="connsiteX5" fmla="*/ 167923 w 8006998"/>
                <a:gd name="connsiteY5" fmla="*/ 2752725 h 3242774"/>
                <a:gd name="connsiteX6" fmla="*/ 167923 w 8006998"/>
                <a:gd name="connsiteY6" fmla="*/ 2743200 h 3242774"/>
                <a:gd name="connsiteX7" fmla="*/ 177448 w 8006998"/>
                <a:gd name="connsiteY7" fmla="*/ 0 h 3242774"/>
                <a:gd name="connsiteX8" fmla="*/ 177448 w 8006998"/>
                <a:gd name="connsiteY8" fmla="*/ 0 h 3242774"/>
                <a:gd name="connsiteX9" fmla="*/ 177448 w 8006998"/>
                <a:gd name="connsiteY9" fmla="*/ 0 h 3242774"/>
                <a:gd name="connsiteX0" fmla="*/ 244123 w 8006998"/>
                <a:gd name="connsiteY0" fmla="*/ 0 h 3238724"/>
                <a:gd name="connsiteX1" fmla="*/ 8006998 w 8006998"/>
                <a:gd name="connsiteY1" fmla="*/ 0 h 3238724"/>
                <a:gd name="connsiteX2" fmla="*/ 6540148 w 8006998"/>
                <a:gd name="connsiteY2" fmla="*/ 1628775 h 3238724"/>
                <a:gd name="connsiteX3" fmla="*/ 5406673 w 8006998"/>
                <a:gd name="connsiteY3" fmla="*/ 1628775 h 3238724"/>
                <a:gd name="connsiteX4" fmla="*/ 2434873 w 8006998"/>
                <a:gd name="connsiteY4" fmla="*/ 3238500 h 3238724"/>
                <a:gd name="connsiteX5" fmla="*/ 167923 w 8006998"/>
                <a:gd name="connsiteY5" fmla="*/ 2752725 h 3238724"/>
                <a:gd name="connsiteX6" fmla="*/ 167923 w 8006998"/>
                <a:gd name="connsiteY6" fmla="*/ 2743200 h 3238724"/>
                <a:gd name="connsiteX7" fmla="*/ 177448 w 8006998"/>
                <a:gd name="connsiteY7" fmla="*/ 0 h 3238724"/>
                <a:gd name="connsiteX8" fmla="*/ 177448 w 8006998"/>
                <a:gd name="connsiteY8" fmla="*/ 0 h 3238724"/>
                <a:gd name="connsiteX9" fmla="*/ 177448 w 8006998"/>
                <a:gd name="connsiteY9" fmla="*/ 0 h 3238724"/>
                <a:gd name="connsiteX0" fmla="*/ 244123 w 8006998"/>
                <a:gd name="connsiteY0" fmla="*/ 0 h 3238724"/>
                <a:gd name="connsiteX1" fmla="*/ 8006998 w 8006998"/>
                <a:gd name="connsiteY1" fmla="*/ 0 h 3238724"/>
                <a:gd name="connsiteX2" fmla="*/ 6540148 w 8006998"/>
                <a:gd name="connsiteY2" fmla="*/ 1628775 h 3238724"/>
                <a:gd name="connsiteX3" fmla="*/ 5406673 w 8006998"/>
                <a:gd name="connsiteY3" fmla="*/ 1628775 h 3238724"/>
                <a:gd name="connsiteX4" fmla="*/ 2434873 w 8006998"/>
                <a:gd name="connsiteY4" fmla="*/ 3238500 h 3238724"/>
                <a:gd name="connsiteX5" fmla="*/ 167923 w 8006998"/>
                <a:gd name="connsiteY5" fmla="*/ 2752725 h 3238724"/>
                <a:gd name="connsiteX6" fmla="*/ 167923 w 8006998"/>
                <a:gd name="connsiteY6" fmla="*/ 2743200 h 3238724"/>
                <a:gd name="connsiteX7" fmla="*/ 177448 w 8006998"/>
                <a:gd name="connsiteY7" fmla="*/ 0 h 3238724"/>
                <a:gd name="connsiteX8" fmla="*/ 177448 w 8006998"/>
                <a:gd name="connsiteY8" fmla="*/ 0 h 3238724"/>
                <a:gd name="connsiteX9" fmla="*/ 177448 w 8006998"/>
                <a:gd name="connsiteY9" fmla="*/ 0 h 3238724"/>
                <a:gd name="connsiteX0" fmla="*/ 244123 w 8006998"/>
                <a:gd name="connsiteY0" fmla="*/ 0 h 3238682"/>
                <a:gd name="connsiteX1" fmla="*/ 8006998 w 8006998"/>
                <a:gd name="connsiteY1" fmla="*/ 0 h 3238682"/>
                <a:gd name="connsiteX2" fmla="*/ 6540148 w 8006998"/>
                <a:gd name="connsiteY2" fmla="*/ 1628775 h 3238682"/>
                <a:gd name="connsiteX3" fmla="*/ 5406673 w 8006998"/>
                <a:gd name="connsiteY3" fmla="*/ 1628775 h 3238682"/>
                <a:gd name="connsiteX4" fmla="*/ 2434873 w 8006998"/>
                <a:gd name="connsiteY4" fmla="*/ 3238500 h 3238682"/>
                <a:gd name="connsiteX5" fmla="*/ 167923 w 8006998"/>
                <a:gd name="connsiteY5" fmla="*/ 2752725 h 3238682"/>
                <a:gd name="connsiteX6" fmla="*/ 167923 w 8006998"/>
                <a:gd name="connsiteY6" fmla="*/ 2743200 h 3238682"/>
                <a:gd name="connsiteX7" fmla="*/ 177448 w 8006998"/>
                <a:gd name="connsiteY7" fmla="*/ 0 h 3238682"/>
                <a:gd name="connsiteX8" fmla="*/ 177448 w 8006998"/>
                <a:gd name="connsiteY8" fmla="*/ 0 h 3238682"/>
                <a:gd name="connsiteX9" fmla="*/ 177448 w 8006998"/>
                <a:gd name="connsiteY9" fmla="*/ 0 h 3238682"/>
                <a:gd name="connsiteX0" fmla="*/ 244123 w 8006998"/>
                <a:gd name="connsiteY0" fmla="*/ 0 h 3238682"/>
                <a:gd name="connsiteX1" fmla="*/ 8006998 w 8006998"/>
                <a:gd name="connsiteY1" fmla="*/ 0 h 3238682"/>
                <a:gd name="connsiteX2" fmla="*/ 6540148 w 8006998"/>
                <a:gd name="connsiteY2" fmla="*/ 1628775 h 3238682"/>
                <a:gd name="connsiteX3" fmla="*/ 5406673 w 8006998"/>
                <a:gd name="connsiteY3" fmla="*/ 1628775 h 3238682"/>
                <a:gd name="connsiteX4" fmla="*/ 2434873 w 8006998"/>
                <a:gd name="connsiteY4" fmla="*/ 3238500 h 3238682"/>
                <a:gd name="connsiteX5" fmla="*/ 167923 w 8006998"/>
                <a:gd name="connsiteY5" fmla="*/ 2752725 h 3238682"/>
                <a:gd name="connsiteX6" fmla="*/ 167923 w 8006998"/>
                <a:gd name="connsiteY6" fmla="*/ 2743200 h 3238682"/>
                <a:gd name="connsiteX7" fmla="*/ 177448 w 8006998"/>
                <a:gd name="connsiteY7" fmla="*/ 0 h 3238682"/>
                <a:gd name="connsiteX8" fmla="*/ 177448 w 8006998"/>
                <a:gd name="connsiteY8" fmla="*/ 0 h 3238682"/>
                <a:gd name="connsiteX9" fmla="*/ 177448 w 8006998"/>
                <a:gd name="connsiteY9" fmla="*/ 0 h 3238682"/>
                <a:gd name="connsiteX0" fmla="*/ 246980 w 8009855"/>
                <a:gd name="connsiteY0" fmla="*/ 0 h 3238682"/>
                <a:gd name="connsiteX1" fmla="*/ 8009855 w 8009855"/>
                <a:gd name="connsiteY1" fmla="*/ 0 h 3238682"/>
                <a:gd name="connsiteX2" fmla="*/ 6543005 w 8009855"/>
                <a:gd name="connsiteY2" fmla="*/ 1628775 h 3238682"/>
                <a:gd name="connsiteX3" fmla="*/ 5409530 w 8009855"/>
                <a:gd name="connsiteY3" fmla="*/ 1628775 h 3238682"/>
                <a:gd name="connsiteX4" fmla="*/ 2437730 w 8009855"/>
                <a:gd name="connsiteY4" fmla="*/ 3238500 h 3238682"/>
                <a:gd name="connsiteX5" fmla="*/ 170780 w 8009855"/>
                <a:gd name="connsiteY5" fmla="*/ 2752725 h 3238682"/>
                <a:gd name="connsiteX6" fmla="*/ 170780 w 8009855"/>
                <a:gd name="connsiteY6" fmla="*/ 2743200 h 3238682"/>
                <a:gd name="connsiteX7" fmla="*/ 180305 w 8009855"/>
                <a:gd name="connsiteY7" fmla="*/ 0 h 3238682"/>
                <a:gd name="connsiteX8" fmla="*/ 180305 w 8009855"/>
                <a:gd name="connsiteY8" fmla="*/ 0 h 3238682"/>
                <a:gd name="connsiteX9" fmla="*/ 180305 w 8009855"/>
                <a:gd name="connsiteY9" fmla="*/ 0 h 3238682"/>
                <a:gd name="connsiteX0" fmla="*/ 244831 w 8007706"/>
                <a:gd name="connsiteY0" fmla="*/ 0 h 3238682"/>
                <a:gd name="connsiteX1" fmla="*/ 8007706 w 8007706"/>
                <a:gd name="connsiteY1" fmla="*/ 0 h 3238682"/>
                <a:gd name="connsiteX2" fmla="*/ 6540856 w 8007706"/>
                <a:gd name="connsiteY2" fmla="*/ 1628775 h 3238682"/>
                <a:gd name="connsiteX3" fmla="*/ 5407381 w 8007706"/>
                <a:gd name="connsiteY3" fmla="*/ 1628775 h 3238682"/>
                <a:gd name="connsiteX4" fmla="*/ 2435581 w 8007706"/>
                <a:gd name="connsiteY4" fmla="*/ 3238500 h 3238682"/>
                <a:gd name="connsiteX5" fmla="*/ 168631 w 8007706"/>
                <a:gd name="connsiteY5" fmla="*/ 2752725 h 3238682"/>
                <a:gd name="connsiteX6" fmla="*/ 168631 w 8007706"/>
                <a:gd name="connsiteY6" fmla="*/ 2743200 h 3238682"/>
                <a:gd name="connsiteX7" fmla="*/ 178156 w 8007706"/>
                <a:gd name="connsiteY7" fmla="*/ 0 h 3238682"/>
                <a:gd name="connsiteX8" fmla="*/ 178156 w 8007706"/>
                <a:gd name="connsiteY8" fmla="*/ 0 h 3238682"/>
                <a:gd name="connsiteX9" fmla="*/ 178156 w 8007706"/>
                <a:gd name="connsiteY9" fmla="*/ 0 h 3238682"/>
                <a:gd name="connsiteX0" fmla="*/ 244831 w 8007706"/>
                <a:gd name="connsiteY0" fmla="*/ 0 h 3246785"/>
                <a:gd name="connsiteX1" fmla="*/ 8007706 w 8007706"/>
                <a:gd name="connsiteY1" fmla="*/ 0 h 3246785"/>
                <a:gd name="connsiteX2" fmla="*/ 6540856 w 8007706"/>
                <a:gd name="connsiteY2" fmla="*/ 1628775 h 3246785"/>
                <a:gd name="connsiteX3" fmla="*/ 5407381 w 8007706"/>
                <a:gd name="connsiteY3" fmla="*/ 1628775 h 3246785"/>
                <a:gd name="connsiteX4" fmla="*/ 2435581 w 8007706"/>
                <a:gd name="connsiteY4" fmla="*/ 3238500 h 3246785"/>
                <a:gd name="connsiteX5" fmla="*/ 168631 w 8007706"/>
                <a:gd name="connsiteY5" fmla="*/ 2752725 h 3246785"/>
                <a:gd name="connsiteX6" fmla="*/ 168631 w 8007706"/>
                <a:gd name="connsiteY6" fmla="*/ 2743200 h 3246785"/>
                <a:gd name="connsiteX7" fmla="*/ 178156 w 8007706"/>
                <a:gd name="connsiteY7" fmla="*/ 0 h 3246785"/>
                <a:gd name="connsiteX8" fmla="*/ 178156 w 8007706"/>
                <a:gd name="connsiteY8" fmla="*/ 0 h 3246785"/>
                <a:gd name="connsiteX9" fmla="*/ 178156 w 8007706"/>
                <a:gd name="connsiteY9" fmla="*/ 0 h 3246785"/>
                <a:gd name="connsiteX0" fmla="*/ 223706 w 7986581"/>
                <a:gd name="connsiteY0" fmla="*/ 0 h 3246785"/>
                <a:gd name="connsiteX1" fmla="*/ 7986581 w 7986581"/>
                <a:gd name="connsiteY1" fmla="*/ 0 h 3246785"/>
                <a:gd name="connsiteX2" fmla="*/ 6519731 w 7986581"/>
                <a:gd name="connsiteY2" fmla="*/ 1628775 h 3246785"/>
                <a:gd name="connsiteX3" fmla="*/ 5386256 w 7986581"/>
                <a:gd name="connsiteY3" fmla="*/ 1628775 h 3246785"/>
                <a:gd name="connsiteX4" fmla="*/ 2414456 w 7986581"/>
                <a:gd name="connsiteY4" fmla="*/ 3238500 h 3246785"/>
                <a:gd name="connsiteX5" fmla="*/ 147506 w 7986581"/>
                <a:gd name="connsiteY5" fmla="*/ 2752725 h 3246785"/>
                <a:gd name="connsiteX6" fmla="*/ 147506 w 7986581"/>
                <a:gd name="connsiteY6" fmla="*/ 2743200 h 3246785"/>
                <a:gd name="connsiteX7" fmla="*/ 157031 w 7986581"/>
                <a:gd name="connsiteY7" fmla="*/ 0 h 3246785"/>
                <a:gd name="connsiteX8" fmla="*/ 157031 w 7986581"/>
                <a:gd name="connsiteY8" fmla="*/ 0 h 3246785"/>
                <a:gd name="connsiteX9" fmla="*/ 157031 w 7986581"/>
                <a:gd name="connsiteY9" fmla="*/ 0 h 3246785"/>
                <a:gd name="connsiteX0" fmla="*/ 270776 w 8033651"/>
                <a:gd name="connsiteY0" fmla="*/ 0 h 3246785"/>
                <a:gd name="connsiteX1" fmla="*/ 8033651 w 8033651"/>
                <a:gd name="connsiteY1" fmla="*/ 0 h 3246785"/>
                <a:gd name="connsiteX2" fmla="*/ 6566801 w 8033651"/>
                <a:gd name="connsiteY2" fmla="*/ 1628775 h 3246785"/>
                <a:gd name="connsiteX3" fmla="*/ 5433326 w 8033651"/>
                <a:gd name="connsiteY3" fmla="*/ 1628775 h 3246785"/>
                <a:gd name="connsiteX4" fmla="*/ 2461526 w 8033651"/>
                <a:gd name="connsiteY4" fmla="*/ 3238500 h 3246785"/>
                <a:gd name="connsiteX5" fmla="*/ 194576 w 8033651"/>
                <a:gd name="connsiteY5" fmla="*/ 2752725 h 3246785"/>
                <a:gd name="connsiteX6" fmla="*/ 194576 w 8033651"/>
                <a:gd name="connsiteY6" fmla="*/ 2743200 h 3246785"/>
                <a:gd name="connsiteX7" fmla="*/ 204101 w 8033651"/>
                <a:gd name="connsiteY7" fmla="*/ 0 h 3246785"/>
                <a:gd name="connsiteX8" fmla="*/ 204101 w 8033651"/>
                <a:gd name="connsiteY8" fmla="*/ 0 h 3246785"/>
                <a:gd name="connsiteX9" fmla="*/ 204101 w 8033651"/>
                <a:gd name="connsiteY9" fmla="*/ 0 h 3246785"/>
                <a:gd name="connsiteX0" fmla="*/ 241327 w 8004202"/>
                <a:gd name="connsiteY0" fmla="*/ 0 h 3270894"/>
                <a:gd name="connsiteX1" fmla="*/ 8004202 w 8004202"/>
                <a:gd name="connsiteY1" fmla="*/ 0 h 3270894"/>
                <a:gd name="connsiteX2" fmla="*/ 6537352 w 8004202"/>
                <a:gd name="connsiteY2" fmla="*/ 1628775 h 3270894"/>
                <a:gd name="connsiteX3" fmla="*/ 5403877 w 8004202"/>
                <a:gd name="connsiteY3" fmla="*/ 1628775 h 3270894"/>
                <a:gd name="connsiteX4" fmla="*/ 2432077 w 8004202"/>
                <a:gd name="connsiteY4" fmla="*/ 3238500 h 3270894"/>
                <a:gd name="connsiteX5" fmla="*/ 165127 w 8004202"/>
                <a:gd name="connsiteY5" fmla="*/ 2752725 h 3270894"/>
                <a:gd name="connsiteX6" fmla="*/ 174652 w 8004202"/>
                <a:gd name="connsiteY6" fmla="*/ 0 h 3270894"/>
                <a:gd name="connsiteX7" fmla="*/ 174652 w 8004202"/>
                <a:gd name="connsiteY7" fmla="*/ 0 h 3270894"/>
                <a:gd name="connsiteX8" fmla="*/ 174652 w 8004202"/>
                <a:gd name="connsiteY8" fmla="*/ 0 h 3270894"/>
                <a:gd name="connsiteX0" fmla="*/ 219188 w 7982063"/>
                <a:gd name="connsiteY0" fmla="*/ 0 h 3335056"/>
                <a:gd name="connsiteX1" fmla="*/ 7982063 w 7982063"/>
                <a:gd name="connsiteY1" fmla="*/ 0 h 3335056"/>
                <a:gd name="connsiteX2" fmla="*/ 6515213 w 7982063"/>
                <a:gd name="connsiteY2" fmla="*/ 1628775 h 3335056"/>
                <a:gd name="connsiteX3" fmla="*/ 5381738 w 7982063"/>
                <a:gd name="connsiteY3" fmla="*/ 1628775 h 3335056"/>
                <a:gd name="connsiteX4" fmla="*/ 2409938 w 7982063"/>
                <a:gd name="connsiteY4" fmla="*/ 3238500 h 3335056"/>
                <a:gd name="connsiteX5" fmla="*/ 171563 w 7982063"/>
                <a:gd name="connsiteY5" fmla="*/ 2809875 h 3335056"/>
                <a:gd name="connsiteX6" fmla="*/ 152513 w 7982063"/>
                <a:gd name="connsiteY6" fmla="*/ 0 h 3335056"/>
                <a:gd name="connsiteX7" fmla="*/ 152513 w 7982063"/>
                <a:gd name="connsiteY7" fmla="*/ 0 h 3335056"/>
                <a:gd name="connsiteX8" fmla="*/ 152513 w 7982063"/>
                <a:gd name="connsiteY8" fmla="*/ 0 h 3335056"/>
                <a:gd name="connsiteX0" fmla="*/ 313921 w 8076796"/>
                <a:gd name="connsiteY0" fmla="*/ 0 h 3281767"/>
                <a:gd name="connsiteX1" fmla="*/ 8076796 w 8076796"/>
                <a:gd name="connsiteY1" fmla="*/ 0 h 3281767"/>
                <a:gd name="connsiteX2" fmla="*/ 6609946 w 8076796"/>
                <a:gd name="connsiteY2" fmla="*/ 1628775 h 3281767"/>
                <a:gd name="connsiteX3" fmla="*/ 5476471 w 8076796"/>
                <a:gd name="connsiteY3" fmla="*/ 1628775 h 3281767"/>
                <a:gd name="connsiteX4" fmla="*/ 2504671 w 8076796"/>
                <a:gd name="connsiteY4" fmla="*/ 3238500 h 3281767"/>
                <a:gd name="connsiteX5" fmla="*/ 266296 w 8076796"/>
                <a:gd name="connsiteY5" fmla="*/ 2809875 h 3281767"/>
                <a:gd name="connsiteX6" fmla="*/ 247246 w 8076796"/>
                <a:gd name="connsiteY6" fmla="*/ 0 h 3281767"/>
                <a:gd name="connsiteX7" fmla="*/ 247246 w 8076796"/>
                <a:gd name="connsiteY7" fmla="*/ 0 h 3281767"/>
                <a:gd name="connsiteX8" fmla="*/ 247246 w 8076796"/>
                <a:gd name="connsiteY8" fmla="*/ 0 h 3281767"/>
                <a:gd name="connsiteX0" fmla="*/ 306604 w 8069479"/>
                <a:gd name="connsiteY0" fmla="*/ 0 h 3278498"/>
                <a:gd name="connsiteX1" fmla="*/ 8069479 w 8069479"/>
                <a:gd name="connsiteY1" fmla="*/ 0 h 3278498"/>
                <a:gd name="connsiteX2" fmla="*/ 6602629 w 8069479"/>
                <a:gd name="connsiteY2" fmla="*/ 1628775 h 3278498"/>
                <a:gd name="connsiteX3" fmla="*/ 5469154 w 8069479"/>
                <a:gd name="connsiteY3" fmla="*/ 1628775 h 3278498"/>
                <a:gd name="connsiteX4" fmla="*/ 2497354 w 8069479"/>
                <a:gd name="connsiteY4" fmla="*/ 3238500 h 3278498"/>
                <a:gd name="connsiteX5" fmla="*/ 268504 w 8069479"/>
                <a:gd name="connsiteY5" fmla="*/ 2781300 h 3278498"/>
                <a:gd name="connsiteX6" fmla="*/ 239929 w 8069479"/>
                <a:gd name="connsiteY6" fmla="*/ 0 h 3278498"/>
                <a:gd name="connsiteX7" fmla="*/ 239929 w 8069479"/>
                <a:gd name="connsiteY7" fmla="*/ 0 h 3278498"/>
                <a:gd name="connsiteX8" fmla="*/ 239929 w 8069479"/>
                <a:gd name="connsiteY8" fmla="*/ 0 h 3278498"/>
                <a:gd name="connsiteX0" fmla="*/ 66675 w 7829550"/>
                <a:gd name="connsiteY0" fmla="*/ 0 h 3285761"/>
                <a:gd name="connsiteX1" fmla="*/ 7829550 w 7829550"/>
                <a:gd name="connsiteY1" fmla="*/ 0 h 3285761"/>
                <a:gd name="connsiteX2" fmla="*/ 6362700 w 7829550"/>
                <a:gd name="connsiteY2" fmla="*/ 1628775 h 3285761"/>
                <a:gd name="connsiteX3" fmla="*/ 5229225 w 7829550"/>
                <a:gd name="connsiteY3" fmla="*/ 1628775 h 3285761"/>
                <a:gd name="connsiteX4" fmla="*/ 2257425 w 7829550"/>
                <a:gd name="connsiteY4" fmla="*/ 3238500 h 3285761"/>
                <a:gd name="connsiteX5" fmla="*/ 28575 w 7829550"/>
                <a:gd name="connsiteY5" fmla="*/ 2781300 h 3285761"/>
                <a:gd name="connsiteX6" fmla="*/ 0 w 7829550"/>
                <a:gd name="connsiteY6" fmla="*/ 0 h 3285761"/>
                <a:gd name="connsiteX7" fmla="*/ 0 w 7829550"/>
                <a:gd name="connsiteY7" fmla="*/ 0 h 3285761"/>
                <a:gd name="connsiteX8" fmla="*/ 0 w 7829550"/>
                <a:gd name="connsiteY8" fmla="*/ 0 h 3285761"/>
                <a:gd name="connsiteX0" fmla="*/ 91126 w 7854001"/>
                <a:gd name="connsiteY0" fmla="*/ 0 h 3274776"/>
                <a:gd name="connsiteX1" fmla="*/ 7854001 w 7854001"/>
                <a:gd name="connsiteY1" fmla="*/ 0 h 3274776"/>
                <a:gd name="connsiteX2" fmla="*/ 6387151 w 7854001"/>
                <a:gd name="connsiteY2" fmla="*/ 1628775 h 3274776"/>
                <a:gd name="connsiteX3" fmla="*/ 5253676 w 7854001"/>
                <a:gd name="connsiteY3" fmla="*/ 1628775 h 3274776"/>
                <a:gd name="connsiteX4" fmla="*/ 2281876 w 7854001"/>
                <a:gd name="connsiteY4" fmla="*/ 3238500 h 3274776"/>
                <a:gd name="connsiteX5" fmla="*/ 53026 w 7854001"/>
                <a:gd name="connsiteY5" fmla="*/ 2781300 h 3274776"/>
                <a:gd name="connsiteX6" fmla="*/ 24451 w 7854001"/>
                <a:gd name="connsiteY6" fmla="*/ 0 h 3274776"/>
                <a:gd name="connsiteX7" fmla="*/ 24451 w 7854001"/>
                <a:gd name="connsiteY7" fmla="*/ 0 h 3274776"/>
                <a:gd name="connsiteX8" fmla="*/ 24451 w 7854001"/>
                <a:gd name="connsiteY8" fmla="*/ 0 h 3274776"/>
                <a:gd name="connsiteX0" fmla="*/ 66675 w 7829550"/>
                <a:gd name="connsiteY0" fmla="*/ 0 h 3274790"/>
                <a:gd name="connsiteX1" fmla="*/ 7829550 w 7829550"/>
                <a:gd name="connsiteY1" fmla="*/ 0 h 3274790"/>
                <a:gd name="connsiteX2" fmla="*/ 6362700 w 7829550"/>
                <a:gd name="connsiteY2" fmla="*/ 1628775 h 3274790"/>
                <a:gd name="connsiteX3" fmla="*/ 5229225 w 7829550"/>
                <a:gd name="connsiteY3" fmla="*/ 1628775 h 3274790"/>
                <a:gd name="connsiteX4" fmla="*/ 2257425 w 7829550"/>
                <a:gd name="connsiteY4" fmla="*/ 3238500 h 3274790"/>
                <a:gd name="connsiteX5" fmla="*/ 28575 w 7829550"/>
                <a:gd name="connsiteY5" fmla="*/ 2781300 h 3274790"/>
                <a:gd name="connsiteX6" fmla="*/ 0 w 7829550"/>
                <a:gd name="connsiteY6" fmla="*/ 0 h 3274790"/>
                <a:gd name="connsiteX7" fmla="*/ 0 w 7829550"/>
                <a:gd name="connsiteY7" fmla="*/ 0 h 3274790"/>
                <a:gd name="connsiteX8" fmla="*/ 0 w 7829550"/>
                <a:gd name="connsiteY8" fmla="*/ 0 h 3274790"/>
                <a:gd name="connsiteX0" fmla="*/ 66675 w 7829550"/>
                <a:gd name="connsiteY0" fmla="*/ 0 h 3251496"/>
                <a:gd name="connsiteX1" fmla="*/ 7829550 w 7829550"/>
                <a:gd name="connsiteY1" fmla="*/ 0 h 3251496"/>
                <a:gd name="connsiteX2" fmla="*/ 6362700 w 7829550"/>
                <a:gd name="connsiteY2" fmla="*/ 1628775 h 3251496"/>
                <a:gd name="connsiteX3" fmla="*/ 5229225 w 7829550"/>
                <a:gd name="connsiteY3" fmla="*/ 1628775 h 3251496"/>
                <a:gd name="connsiteX4" fmla="*/ 2257425 w 7829550"/>
                <a:gd name="connsiteY4" fmla="*/ 3238500 h 3251496"/>
                <a:gd name="connsiteX5" fmla="*/ 28575 w 7829550"/>
                <a:gd name="connsiteY5" fmla="*/ 2781300 h 3251496"/>
                <a:gd name="connsiteX6" fmla="*/ 0 w 7829550"/>
                <a:gd name="connsiteY6" fmla="*/ 0 h 3251496"/>
                <a:gd name="connsiteX7" fmla="*/ 0 w 7829550"/>
                <a:gd name="connsiteY7" fmla="*/ 0 h 3251496"/>
                <a:gd name="connsiteX8" fmla="*/ 0 w 7829550"/>
                <a:gd name="connsiteY8" fmla="*/ 0 h 3251496"/>
                <a:gd name="connsiteX0" fmla="*/ 66675 w 7829550"/>
                <a:gd name="connsiteY0" fmla="*/ 0 h 3255839"/>
                <a:gd name="connsiteX1" fmla="*/ 7829550 w 7829550"/>
                <a:gd name="connsiteY1" fmla="*/ 0 h 3255839"/>
                <a:gd name="connsiteX2" fmla="*/ 6362700 w 7829550"/>
                <a:gd name="connsiteY2" fmla="*/ 1628775 h 3255839"/>
                <a:gd name="connsiteX3" fmla="*/ 5229225 w 7829550"/>
                <a:gd name="connsiteY3" fmla="*/ 1628775 h 3255839"/>
                <a:gd name="connsiteX4" fmla="*/ 2257425 w 7829550"/>
                <a:gd name="connsiteY4" fmla="*/ 3238500 h 3255839"/>
                <a:gd name="connsiteX5" fmla="*/ 28575 w 7829550"/>
                <a:gd name="connsiteY5" fmla="*/ 2781300 h 3255839"/>
                <a:gd name="connsiteX6" fmla="*/ 0 w 7829550"/>
                <a:gd name="connsiteY6" fmla="*/ 0 h 3255839"/>
                <a:gd name="connsiteX7" fmla="*/ 0 w 7829550"/>
                <a:gd name="connsiteY7" fmla="*/ 0 h 3255839"/>
                <a:gd name="connsiteX8" fmla="*/ 0 w 7829550"/>
                <a:gd name="connsiteY8" fmla="*/ 0 h 3255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29550" h="3255839">
                  <a:moveTo>
                    <a:pt x="66675" y="0"/>
                  </a:moveTo>
                  <a:lnTo>
                    <a:pt x="7829550" y="0"/>
                  </a:lnTo>
                  <a:lnTo>
                    <a:pt x="6362700" y="1628775"/>
                  </a:lnTo>
                  <a:lnTo>
                    <a:pt x="5229225" y="1628775"/>
                  </a:lnTo>
                  <a:cubicBezTo>
                    <a:pt x="4495800" y="2587625"/>
                    <a:pt x="3821895" y="3077510"/>
                    <a:pt x="2257425" y="3238500"/>
                  </a:cubicBezTo>
                  <a:cubicBezTo>
                    <a:pt x="1070822" y="3360606"/>
                    <a:pt x="28759" y="2798382"/>
                    <a:pt x="28575" y="2781300"/>
                  </a:cubicBezTo>
                  <a:cubicBezTo>
                    <a:pt x="11662" y="1212808"/>
                    <a:pt x="4763" y="463550"/>
                    <a:pt x="0" y="0"/>
                  </a:cubicBez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solidFill>
              <a:srgbClr val="0019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6436" name="TextBox 2"/>
            <p:cNvSpPr txBox="1">
              <a:spLocks noChangeArrowheads="1"/>
            </p:cNvSpPr>
            <p:nvPr/>
          </p:nvSpPr>
          <p:spPr bwMode="auto">
            <a:xfrm>
              <a:off x="454025" y="4048109"/>
              <a:ext cx="3182938" cy="24018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n-US" altLang="en-US" sz="4100" dirty="0">
                  <a:solidFill>
                    <a:srgbClr val="FFFFFF"/>
                  </a:solidFill>
                </a:rPr>
                <a:t>experience</a:t>
              </a:r>
            </a:p>
            <a:p>
              <a:r>
                <a:rPr lang="en-US" altLang="en-US" sz="4100" dirty="0">
                  <a:solidFill>
                    <a:srgbClr val="0C9EFF"/>
                  </a:solidFill>
                </a:rPr>
                <a:t>is everything</a:t>
              </a:r>
            </a:p>
            <a:p>
              <a:pPr>
                <a:lnSpc>
                  <a:spcPct val="150000"/>
                </a:lnSpc>
                <a:spcBef>
                  <a:spcPts val="1200"/>
                </a:spcBef>
              </a:pPr>
              <a:r>
                <a:rPr lang="en-US" altLang="en-US" sz="4100" dirty="0" smtClean="0">
                  <a:solidFill>
                    <a:srgbClr val="0C9EFF"/>
                  </a:solidFill>
                </a:rPr>
                <a:t>Thank you!</a:t>
              </a:r>
              <a:endParaRPr lang="en-US" altLang="en-US" sz="4100" dirty="0">
                <a:solidFill>
                  <a:srgbClr val="0C9EFF"/>
                </a:solidFill>
              </a:endParaRPr>
            </a:p>
          </p:txBody>
        </p:sp>
      </p:grpSp>
    </p:spTree>
  </p:cSld>
  <p:clrMapOvr>
    <a:masterClrMapping/>
  </p:clrMapOvr>
  <p:transition advClick="0"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21" name="Picture 3" descr="H:\transfer\capa-baixa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" r="-140"/>
          <a:stretch>
            <a:fillRect/>
          </a:stretch>
        </p:blipFill>
        <p:spPr bwMode="auto">
          <a:xfrm>
            <a:off x="0" y="0"/>
            <a:ext cx="14630400" cy="822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1" y="1"/>
            <a:ext cx="8932862" cy="1451610"/>
          </a:xfrm>
          <a:prstGeom prst="rect">
            <a:avLst/>
          </a:prstGeom>
          <a:gradFill flip="none" rotWithShape="1">
            <a:gsLst>
              <a:gs pos="32000">
                <a:schemeClr val="tx1">
                  <a:lumMod val="90000"/>
                  <a:lumOff val="10000"/>
                  <a:alpha val="83000"/>
                </a:schemeClr>
              </a:gs>
              <a:gs pos="89000">
                <a:schemeClr val="tx1">
                  <a:lumMod val="90000"/>
                  <a:lumOff val="10000"/>
                  <a:alpha val="0"/>
                </a:schemeClr>
              </a:gs>
              <a:gs pos="65000">
                <a:schemeClr val="tx1">
                  <a:lumMod val="90000"/>
                  <a:lumOff val="10000"/>
                  <a:alpha val="7600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15" tIns="65308" rIns="130615" bIns="65308" anchor="ctr"/>
          <a:lstStyle/>
          <a:p>
            <a:pPr algn="ctr" defTabSz="6530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900">
              <a:solidFill>
                <a:prstClr val="white"/>
              </a:solidFill>
              <a:latin typeface="Raleway" panose="020B0003030101060003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4595813"/>
            <a:ext cx="11626272" cy="3633787"/>
          </a:xfrm>
          <a:prstGeom prst="rect">
            <a:avLst/>
          </a:prstGeom>
          <a:gradFill flip="none" rotWithShape="1">
            <a:gsLst>
              <a:gs pos="32000">
                <a:schemeClr val="tx1">
                  <a:lumMod val="90000"/>
                  <a:lumOff val="10000"/>
                  <a:alpha val="83000"/>
                </a:schemeClr>
              </a:gs>
              <a:gs pos="89000">
                <a:schemeClr val="tx1">
                  <a:lumMod val="90000"/>
                  <a:lumOff val="10000"/>
                  <a:alpha val="0"/>
                </a:schemeClr>
              </a:gs>
              <a:gs pos="65000">
                <a:schemeClr val="tx1">
                  <a:lumMod val="90000"/>
                  <a:lumOff val="10000"/>
                  <a:alpha val="7600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15" tIns="65308" rIns="130615" bIns="65308" anchor="ctr"/>
          <a:lstStyle/>
          <a:p>
            <a:pPr algn="ctr" defTabSz="653077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900">
              <a:solidFill>
                <a:prstClr val="white"/>
              </a:solidFill>
              <a:latin typeface="Raleway" panose="020B0003030101060003" pitchFamily="34" charset="0"/>
            </a:endParaRPr>
          </a:p>
        </p:txBody>
      </p:sp>
      <p:sp>
        <p:nvSpPr>
          <p:cNvPr id="133128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665024" y="4473575"/>
            <a:ext cx="7970838" cy="1322388"/>
          </a:xfrm>
          <a:prstGeom prst="rect">
            <a:avLst/>
          </a:prstGeom>
        </p:spPr>
        <p:txBody>
          <a:bodyPr/>
          <a:lstStyle/>
          <a:p>
            <a:pPr marL="0" indent="0" eaLnBrk="1" hangingPunct="1">
              <a:lnSpc>
                <a:spcPct val="100000"/>
              </a:lnSpc>
            </a:pPr>
            <a:r>
              <a:rPr lang="en-US" altLang="en-US" sz="5400" b="1" dirty="0" smtClean="0">
                <a:solidFill>
                  <a:srgbClr val="FFC000"/>
                </a:solidFill>
                <a:latin typeface="Lubalin Demi for IBM" pitchFamily="1" charset="0"/>
                <a:ea typeface="ＭＳ Ｐゴシック" pitchFamily="34" charset="-128"/>
              </a:rPr>
              <a:t>Experience in </a:t>
            </a:r>
            <a:r>
              <a:rPr lang="en-US" altLang="en-US" sz="7100" b="1" i="1" dirty="0" smtClean="0">
                <a:latin typeface="Lubalin Demi for IBM" pitchFamily="1" charset="0"/>
                <a:ea typeface="ＭＳ Ｐゴシック" pitchFamily="34" charset="-128"/>
              </a:rPr>
              <a:t>Motion</a:t>
            </a:r>
          </a:p>
        </p:txBody>
      </p:sp>
      <p:pic>
        <p:nvPicPr>
          <p:cNvPr id="133132" name="Picture 8" descr="IBM logo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6600" y="540327"/>
            <a:ext cx="946727" cy="362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16"/>
          <p:cNvSpPr txBox="1">
            <a:spLocks/>
          </p:cNvSpPr>
          <p:nvPr/>
        </p:nvSpPr>
        <p:spPr bwMode="auto">
          <a:xfrm>
            <a:off x="10188958" y="-164653"/>
            <a:ext cx="4339987" cy="726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0614" tIns="65309" rIns="130614" bIns="65309"/>
          <a:lstStyle>
            <a:lvl1pPr marL="152400" defTabSz="1304925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304925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304925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304925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304925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304925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304925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304925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304925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lnSpc>
                <a:spcPts val="6000"/>
              </a:lnSpc>
              <a:defRPr/>
            </a:pPr>
            <a:r>
              <a:rPr lang="en-US" altLang="en-US" sz="3200" b="1" dirty="0">
                <a:solidFill>
                  <a:srgbClr val="0050A6"/>
                </a:solidFill>
                <a:latin typeface="Lubalin Demi for IBM" pitchFamily="1" charset="0"/>
              </a:rPr>
              <a:t>Alejandro </a:t>
            </a:r>
            <a:r>
              <a:rPr lang="en-US" altLang="en-US" sz="3200" b="1" dirty="0" err="1">
                <a:solidFill>
                  <a:srgbClr val="0050A6"/>
                </a:solidFill>
                <a:latin typeface="Lubalin Demi for IBM" pitchFamily="1" charset="0"/>
              </a:rPr>
              <a:t>Padron</a:t>
            </a:r>
            <a:endParaRPr lang="pt-BR" altLang="en-US" sz="1800" b="1" dirty="0">
              <a:solidFill>
                <a:srgbClr val="0050A6"/>
              </a:solidFill>
              <a:latin typeface="Lubalin Demi for IBM" pitchFamily="1" charset="0"/>
            </a:endParaRPr>
          </a:p>
        </p:txBody>
      </p:sp>
      <p:sp>
        <p:nvSpPr>
          <p:cNvPr id="17" name="Text Placeholder 16"/>
          <p:cNvSpPr txBox="1">
            <a:spLocks/>
          </p:cNvSpPr>
          <p:nvPr/>
        </p:nvSpPr>
        <p:spPr bwMode="auto">
          <a:xfrm>
            <a:off x="10182292" y="610048"/>
            <a:ext cx="4518659" cy="574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0614" tIns="65309" rIns="130614" bIns="65309"/>
          <a:lstStyle>
            <a:lvl1pPr marL="152400" defTabSz="1304925" eaLnBrk="0" hangingPunct="0">
              <a:defRPr sz="1400">
                <a:solidFill>
                  <a:schemeClr val="tx1"/>
                </a:solidFill>
                <a:latin typeface="Helvetica Neue" charset="0"/>
                <a:ea typeface="ＭＳ Ｐゴシック" charset="0"/>
                <a:cs typeface="ＭＳ Ｐゴシック" charset="0"/>
                <a:sym typeface="Helvetica Neue" charset="0"/>
              </a:defRPr>
            </a:lvl1pPr>
            <a:lvl2pPr marL="742950" indent="-285750" defTabSz="1304925" eaLnBrk="0" hangingPunct="0">
              <a:defRPr sz="1400">
                <a:solidFill>
                  <a:schemeClr val="tx1"/>
                </a:solidFill>
                <a:latin typeface="Helvetica Neue" charset="0"/>
                <a:ea typeface="ＭＳ Ｐゴシック" charset="0"/>
                <a:sym typeface="Helvetica Neue" charset="0"/>
              </a:defRPr>
            </a:lvl2pPr>
            <a:lvl3pPr marL="1143000" indent="-228600" defTabSz="1304925" eaLnBrk="0" hangingPunct="0">
              <a:defRPr sz="1400">
                <a:solidFill>
                  <a:schemeClr val="tx1"/>
                </a:solidFill>
                <a:latin typeface="Helvetica Neue" charset="0"/>
                <a:ea typeface="ＭＳ Ｐゴシック" charset="0"/>
                <a:sym typeface="Helvetica Neue" charset="0"/>
              </a:defRPr>
            </a:lvl3pPr>
            <a:lvl4pPr marL="1600200" indent="-228600" defTabSz="1304925" eaLnBrk="0" hangingPunct="0">
              <a:defRPr sz="1400">
                <a:solidFill>
                  <a:schemeClr val="tx1"/>
                </a:solidFill>
                <a:latin typeface="Helvetica Neue" charset="0"/>
                <a:ea typeface="ＭＳ Ｐゴシック" charset="0"/>
                <a:sym typeface="Helvetica Neue" charset="0"/>
              </a:defRPr>
            </a:lvl4pPr>
            <a:lvl5pPr marL="2057400" indent="-228600" defTabSz="1304925" eaLnBrk="0" hangingPunct="0">
              <a:defRPr sz="1400">
                <a:solidFill>
                  <a:schemeClr val="tx1"/>
                </a:solidFill>
                <a:latin typeface="Helvetica Neue" charset="0"/>
                <a:ea typeface="ＭＳ Ｐゴシック" charset="0"/>
                <a:sym typeface="Helvetica Neue" charset="0"/>
              </a:defRPr>
            </a:lvl5pPr>
            <a:lvl6pPr marL="2514600" indent="-228600" defTabSz="13049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Neue" charset="0"/>
                <a:ea typeface="ＭＳ Ｐゴシック" charset="0"/>
                <a:sym typeface="Helvetica Neue" charset="0"/>
              </a:defRPr>
            </a:lvl6pPr>
            <a:lvl7pPr marL="2971800" indent="-228600" defTabSz="13049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Neue" charset="0"/>
                <a:ea typeface="ＭＳ Ｐゴシック" charset="0"/>
                <a:sym typeface="Helvetica Neue" charset="0"/>
              </a:defRPr>
            </a:lvl7pPr>
            <a:lvl8pPr marL="3429000" indent="-228600" defTabSz="13049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Neue" charset="0"/>
                <a:ea typeface="ＭＳ Ｐゴシック" charset="0"/>
                <a:sym typeface="Helvetica Neue" charset="0"/>
              </a:defRPr>
            </a:lvl8pPr>
            <a:lvl9pPr marL="3886200" indent="-228600" defTabSz="1304925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Helvetica Neue" charset="0"/>
                <a:ea typeface="ＭＳ Ｐゴシック" charset="0"/>
                <a:sym typeface="Helvetica Neue" charset="0"/>
              </a:defRPr>
            </a:lvl9pPr>
          </a:lstStyle>
          <a:p>
            <a:pPr eaLnBrk="1" hangingPunct="1"/>
            <a:r>
              <a:rPr lang="pt-BR" sz="1900" b="1" dirty="0">
                <a:solidFill>
                  <a:srgbClr val="001934"/>
                </a:solidFill>
                <a:latin typeface="Lubalin Demi for IBM" charset="0"/>
                <a:cs typeface="Arial" charset="0"/>
              </a:rPr>
              <a:t>LA </a:t>
            </a:r>
            <a:r>
              <a:rPr lang="pt-BR" sz="1900" b="1" dirty="0" err="1">
                <a:solidFill>
                  <a:srgbClr val="001934"/>
                </a:solidFill>
                <a:latin typeface="Lubalin Demi for IBM" charset="0"/>
                <a:cs typeface="Arial" charset="0"/>
              </a:rPr>
              <a:t>Retail</a:t>
            </a:r>
            <a:r>
              <a:rPr lang="pt-BR" sz="1900" b="1" dirty="0">
                <a:solidFill>
                  <a:srgbClr val="001934"/>
                </a:solidFill>
                <a:latin typeface="Lubalin Demi for IBM" charset="0"/>
                <a:cs typeface="Arial" charset="0"/>
              </a:rPr>
              <a:t> </a:t>
            </a:r>
            <a:r>
              <a:rPr lang="pt-BR" sz="1900" b="1" dirty="0" err="1">
                <a:solidFill>
                  <a:srgbClr val="001934"/>
                </a:solidFill>
                <a:latin typeface="Lubalin Demi for IBM" charset="0"/>
                <a:cs typeface="Arial" charset="0"/>
              </a:rPr>
              <a:t>Leader</a:t>
            </a:r>
            <a:endParaRPr lang="pt-BR" sz="1900" b="1" dirty="0">
              <a:solidFill>
                <a:srgbClr val="001934"/>
              </a:solidFill>
              <a:latin typeface="Lubalin Demi for IBM" charset="0"/>
              <a:cs typeface="Arial" charset="0"/>
            </a:endParaRPr>
          </a:p>
          <a:p>
            <a:pPr eaLnBrk="1" hangingPunct="1"/>
            <a:r>
              <a:rPr lang="pt-BR" sz="1900" b="1" dirty="0" err="1">
                <a:solidFill>
                  <a:srgbClr val="001934"/>
                </a:solidFill>
                <a:latin typeface="Lubalin Demi for IBM" charset="0"/>
                <a:cs typeface="Arial" charset="0"/>
              </a:rPr>
              <a:t>Industry</a:t>
            </a:r>
            <a:r>
              <a:rPr lang="pt-BR" sz="1900" b="1" dirty="0">
                <a:solidFill>
                  <a:srgbClr val="001934"/>
                </a:solidFill>
                <a:latin typeface="Lubalin Demi for IBM" charset="0"/>
                <a:cs typeface="Arial" charset="0"/>
              </a:rPr>
              <a:t> </a:t>
            </a:r>
            <a:r>
              <a:rPr lang="pt-BR" sz="1900" b="1" dirty="0" err="1">
                <a:solidFill>
                  <a:srgbClr val="001934"/>
                </a:solidFill>
                <a:latin typeface="Lubalin Demi for IBM" charset="0"/>
                <a:cs typeface="Arial" charset="0"/>
              </a:rPr>
              <a:t>Solutions</a:t>
            </a:r>
            <a:endParaRPr lang="pt-BR" sz="1900" b="1" dirty="0">
              <a:solidFill>
                <a:srgbClr val="001934"/>
              </a:solidFill>
              <a:latin typeface="Lubalin Demi for IBM" charset="0"/>
              <a:cs typeface="Arial" charset="0"/>
            </a:endParaRPr>
          </a:p>
        </p:txBody>
      </p:sp>
      <p:grpSp>
        <p:nvGrpSpPr>
          <p:cNvPr id="19" name="Group 18"/>
          <p:cNvGrpSpPr>
            <a:grpSpLocks/>
          </p:cNvGrpSpPr>
          <p:nvPr/>
        </p:nvGrpSpPr>
        <p:grpSpPr bwMode="auto">
          <a:xfrm>
            <a:off x="-45247559" y="4792981"/>
            <a:ext cx="38407339" cy="2296160"/>
            <a:chOff x="-15180263" y="-186991"/>
            <a:chExt cx="26630812" cy="1914478"/>
          </a:xfrm>
        </p:grpSpPr>
        <p:sp>
          <p:nvSpPr>
            <p:cNvPr id="20" name="TextBox 14"/>
            <p:cNvSpPr txBox="1">
              <a:spLocks noChangeArrowheads="1"/>
            </p:cNvSpPr>
            <p:nvPr/>
          </p:nvSpPr>
          <p:spPr bwMode="auto">
            <a:xfrm>
              <a:off x="-6330713" y="-160532"/>
              <a:ext cx="17781262" cy="18880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cs typeface="ＭＳ Ｐゴシック" charset="0"/>
                  <a:sym typeface="Helvetica Neue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9pPr>
            </a:lstStyle>
            <a:p>
              <a:pPr eaLnBrk="1" hangingPunct="1"/>
              <a:r>
                <a:rPr lang="en-US" sz="12600">
                  <a:solidFill>
                    <a:srgbClr val="FFFF4F"/>
                  </a:solidFill>
                  <a:latin typeface="Calibri" charset="0"/>
                  <a:cs typeface="Arial" charset="0"/>
                </a:rPr>
                <a:t>Contextual</a:t>
              </a:r>
              <a:r>
                <a:rPr lang="en-US" sz="9400">
                  <a:solidFill>
                    <a:srgbClr val="FFFF4F"/>
                  </a:solidFill>
                  <a:latin typeface="Calibri" charset="0"/>
                  <a:cs typeface="Arial" charset="0"/>
                </a:rPr>
                <a:t>                 </a:t>
              </a:r>
              <a:r>
                <a:rPr lang="en-US" sz="13800">
                  <a:solidFill>
                    <a:srgbClr val="7030A0"/>
                  </a:solidFill>
                  <a:latin typeface="Calibri" charset="0"/>
                  <a:cs typeface="Arial" charset="0"/>
                </a:rPr>
                <a:t>Contextual</a:t>
              </a:r>
              <a:endParaRPr lang="en-US" sz="9400" b="1" i="1">
                <a:solidFill>
                  <a:srgbClr val="7030A0"/>
                </a:solidFill>
                <a:latin typeface="Calibri" charset="0"/>
                <a:cs typeface="Arial" charset="0"/>
              </a:endParaRPr>
            </a:p>
          </p:txBody>
        </p:sp>
        <p:sp>
          <p:nvSpPr>
            <p:cNvPr id="21" name="TextBox 15"/>
            <p:cNvSpPr txBox="1">
              <a:spLocks noChangeArrowheads="1"/>
            </p:cNvSpPr>
            <p:nvPr/>
          </p:nvSpPr>
          <p:spPr bwMode="auto">
            <a:xfrm>
              <a:off x="-15180263" y="-186991"/>
              <a:ext cx="8373315" cy="18880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cs typeface="ＭＳ Ｐゴシック" charset="0"/>
                  <a:sym typeface="Helvetica Neue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9pPr>
            </a:lstStyle>
            <a:p>
              <a:pPr eaLnBrk="1" hangingPunct="1"/>
              <a:r>
                <a:rPr lang="en-US" sz="13800">
                  <a:solidFill>
                    <a:srgbClr val="92D050"/>
                  </a:solidFill>
                  <a:latin typeface="Calibri" charset="0"/>
                  <a:cs typeface="Arial" charset="0"/>
                </a:rPr>
                <a:t>Contextual</a:t>
              </a:r>
              <a:endParaRPr lang="en-US" sz="9400" i="1">
                <a:solidFill>
                  <a:srgbClr val="92D050"/>
                </a:solidFill>
                <a:latin typeface="Calibri" charset="0"/>
                <a:cs typeface="Arial" charset="0"/>
              </a:endParaRPr>
            </a:p>
          </p:txBody>
        </p:sp>
      </p:grpSp>
      <p:grpSp>
        <p:nvGrpSpPr>
          <p:cNvPr id="22" name="Group 21"/>
          <p:cNvGrpSpPr>
            <a:grpSpLocks/>
          </p:cNvGrpSpPr>
          <p:nvPr/>
        </p:nvGrpSpPr>
        <p:grpSpPr bwMode="auto">
          <a:xfrm>
            <a:off x="19476720" y="5890261"/>
            <a:ext cx="59568080" cy="2834640"/>
            <a:chOff x="-27942941" y="-541537"/>
            <a:chExt cx="37230820" cy="2361623"/>
          </a:xfrm>
        </p:grpSpPr>
        <p:sp>
          <p:nvSpPr>
            <p:cNvPr id="23" name="TextBox 47"/>
            <p:cNvSpPr txBox="1">
              <a:spLocks noChangeArrowheads="1"/>
            </p:cNvSpPr>
            <p:nvPr/>
          </p:nvSpPr>
          <p:spPr bwMode="auto">
            <a:xfrm>
              <a:off x="-5422217" y="-541537"/>
              <a:ext cx="14710096" cy="22359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cs typeface="ＭＳ Ｐゴシック" charset="0"/>
                  <a:sym typeface="Helvetica Neue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9pPr>
            </a:lstStyle>
            <a:p>
              <a:pPr eaLnBrk="1" hangingPunct="1"/>
              <a:r>
                <a:rPr lang="en-US" sz="16500" dirty="0">
                  <a:solidFill>
                    <a:srgbClr val="00B0F0"/>
                  </a:solidFill>
                  <a:latin typeface="Calibri" charset="0"/>
                  <a:cs typeface="Arial" charset="0"/>
                </a:rPr>
                <a:t>                    </a:t>
              </a:r>
              <a:r>
                <a:rPr lang="en-US" sz="13800" dirty="0">
                  <a:solidFill>
                    <a:srgbClr val="00B0F0"/>
                  </a:solidFill>
                  <a:latin typeface="Calibri" charset="0"/>
                  <a:cs typeface="Arial" charset="0"/>
                </a:rPr>
                <a:t>Contextual</a:t>
              </a:r>
              <a:endParaRPr lang="en-US" sz="9400" i="1" dirty="0">
                <a:solidFill>
                  <a:srgbClr val="00B0F0"/>
                </a:solidFill>
                <a:latin typeface="Calibri" charset="0"/>
                <a:cs typeface="Arial" charset="0"/>
              </a:endParaRPr>
            </a:p>
          </p:txBody>
        </p:sp>
        <p:sp>
          <p:nvSpPr>
            <p:cNvPr id="24" name="TextBox 19"/>
            <p:cNvSpPr txBox="1">
              <a:spLocks noChangeArrowheads="1"/>
            </p:cNvSpPr>
            <p:nvPr/>
          </p:nvSpPr>
          <p:spPr bwMode="auto">
            <a:xfrm>
              <a:off x="-15687122" y="-415886"/>
              <a:ext cx="14454564" cy="22359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cs typeface="ＭＳ Ｐゴシック" charset="0"/>
                  <a:sym typeface="Helvetica Neue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9pPr>
            </a:lstStyle>
            <a:p>
              <a:pPr eaLnBrk="1" hangingPunct="1"/>
              <a:r>
                <a:rPr lang="en-US" sz="16500" dirty="0">
                  <a:solidFill>
                    <a:srgbClr val="00152C"/>
                  </a:solidFill>
                  <a:latin typeface="Calibri" charset="0"/>
                  <a:cs typeface="Arial" charset="0"/>
                </a:rPr>
                <a:t>                      </a:t>
              </a:r>
              <a:r>
                <a:rPr lang="en-US" sz="16500" dirty="0">
                  <a:solidFill>
                    <a:srgbClr val="EE3E96"/>
                  </a:solidFill>
                  <a:latin typeface="Calibri" charset="0"/>
                  <a:cs typeface="Arial" charset="0"/>
                </a:rPr>
                <a:t>Contextual</a:t>
              </a:r>
              <a:endParaRPr lang="en-US" sz="9400" i="1" dirty="0">
                <a:solidFill>
                  <a:srgbClr val="EE3E96"/>
                </a:solidFill>
                <a:latin typeface="Calibri" charset="0"/>
                <a:cs typeface="Arial" charset="0"/>
              </a:endParaRPr>
            </a:p>
          </p:txBody>
        </p:sp>
        <p:sp>
          <p:nvSpPr>
            <p:cNvPr id="25" name="TextBox 20"/>
            <p:cNvSpPr txBox="1">
              <a:spLocks noChangeArrowheads="1"/>
            </p:cNvSpPr>
            <p:nvPr/>
          </p:nvSpPr>
          <p:spPr bwMode="auto">
            <a:xfrm>
              <a:off x="-27942941" y="-197649"/>
              <a:ext cx="16677121" cy="19292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cs typeface="ＭＳ Ｐゴシック" charset="0"/>
                  <a:sym typeface="Helvetica Neue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9pPr>
            </a:lstStyle>
            <a:p>
              <a:pPr eaLnBrk="1" hangingPunct="1">
                <a:lnSpc>
                  <a:spcPts val="17141"/>
                </a:lnSpc>
              </a:pPr>
              <a:r>
                <a:rPr lang="en-US" sz="13100" b="1">
                  <a:solidFill>
                    <a:srgbClr val="00B0F0"/>
                  </a:solidFill>
                  <a:latin typeface="Calibri" charset="0"/>
                  <a:cs typeface="Arial" charset="0"/>
                </a:rPr>
                <a:t>Contextual</a:t>
              </a:r>
              <a:r>
                <a:rPr lang="en-US" sz="9900" i="1">
                  <a:solidFill>
                    <a:srgbClr val="00B0F0"/>
                  </a:solidFill>
                  <a:latin typeface="Calibri" charset="0"/>
                  <a:cs typeface="Arial" charset="0"/>
                </a:rPr>
                <a:t>          </a:t>
              </a:r>
              <a:r>
                <a:rPr lang="en-US" sz="9900" b="1">
                  <a:solidFill>
                    <a:srgbClr val="17AF4B"/>
                  </a:solidFill>
                  <a:latin typeface="Calibri" charset="0"/>
                  <a:cs typeface="Arial" charset="0"/>
                </a:rPr>
                <a:t>Contextual</a:t>
              </a:r>
              <a:endParaRPr lang="en-US" sz="9600" i="1">
                <a:solidFill>
                  <a:srgbClr val="00B0F0"/>
                </a:solidFill>
                <a:latin typeface="Calibri" charset="0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34113970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48802 0.02245 L 6.49827 0.02245 " pathEditMode="relative" rAng="0" ptsTypes="AA">
                                      <p:cBhvr>
                                        <p:cTn id="6" dur="2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50503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35" presetClass="path" presetSubtype="0" repeatCount="indefinite" accel="50000" decel="50000" autoRev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33789 -0.00405 L -5.70779 -0.00405 " pathEditMode="relative" rAng="0" ptsTypes="AA">
                                      <p:cBhvr>
                                        <p:cTn id="8" dur="2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1849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0" y="-13235"/>
            <a:ext cx="14630401" cy="8286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9"/>
          <p:cNvGrpSpPr/>
          <p:nvPr/>
        </p:nvGrpSpPr>
        <p:grpSpPr>
          <a:xfrm>
            <a:off x="-1637387" y="2300039"/>
            <a:ext cx="13605235" cy="2357438"/>
            <a:chOff x="-34028" y="2499503"/>
            <a:chExt cx="13605235" cy="2357438"/>
          </a:xfrm>
        </p:grpSpPr>
        <p:sp>
          <p:nvSpPr>
            <p:cNvPr id="11" name="Right Arrow 4"/>
            <p:cNvSpPr/>
            <p:nvPr/>
          </p:nvSpPr>
          <p:spPr bwMode="auto">
            <a:xfrm>
              <a:off x="-34028" y="2499503"/>
              <a:ext cx="12597396" cy="2357438"/>
            </a:xfrm>
            <a:custGeom>
              <a:avLst/>
              <a:gdLst>
                <a:gd name="connsiteX0" fmla="*/ 0 w 9424988"/>
                <a:gd name="connsiteY0" fmla="*/ 749288 h 2357438"/>
                <a:gd name="connsiteX1" fmla="*/ 7302752 w 9424988"/>
                <a:gd name="connsiteY1" fmla="*/ 749288 h 2357438"/>
                <a:gd name="connsiteX2" fmla="*/ 7302752 w 9424988"/>
                <a:gd name="connsiteY2" fmla="*/ 0 h 2357438"/>
                <a:gd name="connsiteX3" fmla="*/ 9424988 w 9424988"/>
                <a:gd name="connsiteY3" fmla="*/ 1178719 h 2357438"/>
                <a:gd name="connsiteX4" fmla="*/ 7302752 w 9424988"/>
                <a:gd name="connsiteY4" fmla="*/ 2357438 h 2357438"/>
                <a:gd name="connsiteX5" fmla="*/ 7302752 w 9424988"/>
                <a:gd name="connsiteY5" fmla="*/ 1608150 h 2357438"/>
                <a:gd name="connsiteX6" fmla="*/ 0 w 9424988"/>
                <a:gd name="connsiteY6" fmla="*/ 1608150 h 2357438"/>
                <a:gd name="connsiteX7" fmla="*/ 0 w 9424988"/>
                <a:gd name="connsiteY7" fmla="*/ 749288 h 2357438"/>
                <a:gd name="connsiteX0" fmla="*/ 3172408 w 12597396"/>
                <a:gd name="connsiteY0" fmla="*/ 749288 h 2357438"/>
                <a:gd name="connsiteX1" fmla="*/ 10475160 w 12597396"/>
                <a:gd name="connsiteY1" fmla="*/ 749288 h 2357438"/>
                <a:gd name="connsiteX2" fmla="*/ 10475160 w 12597396"/>
                <a:gd name="connsiteY2" fmla="*/ 0 h 2357438"/>
                <a:gd name="connsiteX3" fmla="*/ 12597396 w 12597396"/>
                <a:gd name="connsiteY3" fmla="*/ 1178719 h 2357438"/>
                <a:gd name="connsiteX4" fmla="*/ 10475160 w 12597396"/>
                <a:gd name="connsiteY4" fmla="*/ 2357438 h 2357438"/>
                <a:gd name="connsiteX5" fmla="*/ 10475160 w 12597396"/>
                <a:gd name="connsiteY5" fmla="*/ 1608150 h 2357438"/>
                <a:gd name="connsiteX6" fmla="*/ 0 w 12597396"/>
                <a:gd name="connsiteY6" fmla="*/ 1608150 h 2357438"/>
                <a:gd name="connsiteX7" fmla="*/ 3172408 w 12597396"/>
                <a:gd name="connsiteY7" fmla="*/ 749288 h 2357438"/>
                <a:gd name="connsiteX0" fmla="*/ 0 w 12597396"/>
                <a:gd name="connsiteY0" fmla="*/ 749288 h 2357438"/>
                <a:gd name="connsiteX1" fmla="*/ 10475160 w 12597396"/>
                <a:gd name="connsiteY1" fmla="*/ 749288 h 2357438"/>
                <a:gd name="connsiteX2" fmla="*/ 10475160 w 12597396"/>
                <a:gd name="connsiteY2" fmla="*/ 0 h 2357438"/>
                <a:gd name="connsiteX3" fmla="*/ 12597396 w 12597396"/>
                <a:gd name="connsiteY3" fmla="*/ 1178719 h 2357438"/>
                <a:gd name="connsiteX4" fmla="*/ 10475160 w 12597396"/>
                <a:gd name="connsiteY4" fmla="*/ 2357438 h 2357438"/>
                <a:gd name="connsiteX5" fmla="*/ 10475160 w 12597396"/>
                <a:gd name="connsiteY5" fmla="*/ 1608150 h 2357438"/>
                <a:gd name="connsiteX6" fmla="*/ 0 w 12597396"/>
                <a:gd name="connsiteY6" fmla="*/ 1608150 h 2357438"/>
                <a:gd name="connsiteX7" fmla="*/ 0 w 12597396"/>
                <a:gd name="connsiteY7" fmla="*/ 749288 h 2357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597396" h="2357438">
                  <a:moveTo>
                    <a:pt x="0" y="749288"/>
                  </a:moveTo>
                  <a:lnTo>
                    <a:pt x="10475160" y="749288"/>
                  </a:lnTo>
                  <a:lnTo>
                    <a:pt x="10475160" y="0"/>
                  </a:lnTo>
                  <a:lnTo>
                    <a:pt x="12597396" y="1178719"/>
                  </a:lnTo>
                  <a:lnTo>
                    <a:pt x="10475160" y="2357438"/>
                  </a:lnTo>
                  <a:lnTo>
                    <a:pt x="10475160" y="1608150"/>
                  </a:lnTo>
                  <a:lnTo>
                    <a:pt x="0" y="1608150"/>
                  </a:lnTo>
                  <a:lnTo>
                    <a:pt x="0" y="74928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5">
                    <a:lumMod val="50000"/>
                    <a:alpha val="80000"/>
                  </a:schemeClr>
                </a:gs>
                <a:gs pos="53000">
                  <a:schemeClr val="bg2">
                    <a:lumMod val="40000"/>
                    <a:lumOff val="60000"/>
                    <a:shade val="67500"/>
                    <a:satMod val="115000"/>
                  </a:schemeClr>
                </a:gs>
                <a:gs pos="100000">
                  <a:schemeClr val="tx2">
                    <a:lumMod val="50000"/>
                    <a:alpha val="86000"/>
                  </a:schemeClr>
                </a:gs>
              </a:gsLst>
              <a:lin ang="10800000" scaled="1"/>
              <a:tileRect/>
            </a:gradFill>
            <a:ln>
              <a:noFill/>
            </a:ln>
            <a:effectLst/>
            <a:extLst/>
          </p:spPr>
          <p:txBody>
            <a:bodyPr wrap="none" lIns="91393" tIns="45693" rIns="91393" bIns="45693" anchor="ctr"/>
            <a:lstStyle/>
            <a:p>
              <a:pPr marL="166597" indent="-166597" algn="ctr" eaLnBrk="1" hangingPunct="1">
                <a:lnSpc>
                  <a:spcPct val="90000"/>
                </a:lnSpc>
                <a:spcBef>
                  <a:spcPct val="50000"/>
                </a:spcBef>
                <a:defRPr/>
              </a:pPr>
              <a:endParaRPr lang="en-US" sz="1600" b="1" dirty="0">
                <a:solidFill>
                  <a:srgbClr val="003F69"/>
                </a:solidFill>
                <a:latin typeface="Arial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2476592" y="3140926"/>
              <a:ext cx="11094615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5400" b="1" dirty="0"/>
                <a:t>Shoppers </a:t>
              </a:r>
              <a:r>
                <a:rPr lang="en-US" sz="5400" b="1" dirty="0" smtClean="0"/>
                <a:t>Disrupted</a:t>
              </a:r>
              <a:endParaRPr lang="en-US" sz="5400" b="1" dirty="0"/>
            </a:p>
          </p:txBody>
        </p:sp>
      </p:grpSp>
    </p:spTree>
    <p:extLst>
      <p:ext uri="{BB962C8B-B14F-4D97-AF65-F5344CB8AC3E}">
        <p14:creationId xmlns:p14="http://schemas.microsoft.com/office/powerpoint/2010/main" xmlns="" val="835347506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0" y="0"/>
            <a:ext cx="14630400" cy="8229600"/>
          </a:xfrm>
          <a:prstGeom prst="rect">
            <a:avLst/>
          </a:prstGeom>
          <a:solidFill>
            <a:srgbClr val="002F4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3065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grpSp>
        <p:nvGrpSpPr>
          <p:cNvPr id="5" name="Group 15"/>
          <p:cNvGrpSpPr>
            <a:grpSpLocks/>
          </p:cNvGrpSpPr>
          <p:nvPr/>
        </p:nvGrpSpPr>
        <p:grpSpPr bwMode="auto">
          <a:xfrm>
            <a:off x="-16933" y="4762500"/>
            <a:ext cx="14647334" cy="3467100"/>
            <a:chOff x="-16933" y="4762500"/>
            <a:chExt cx="14630399" cy="3467101"/>
          </a:xfrm>
        </p:grpSpPr>
        <p:sp>
          <p:nvSpPr>
            <p:cNvPr id="6" name="Text Box 40"/>
            <p:cNvSpPr txBox="1">
              <a:spLocks noChangeArrowheads="1"/>
            </p:cNvSpPr>
            <p:nvPr/>
          </p:nvSpPr>
          <p:spPr bwMode="auto">
            <a:xfrm>
              <a:off x="13760450" y="7864475"/>
              <a:ext cx="654050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fld id="{D9445864-82E0-4CD0-8997-DA2E783B9D3F}" type="slidenum">
                <a:rPr lang="en-US" altLang="en-US" sz="1100">
                  <a:solidFill>
                    <a:srgbClr val="FFFFFF"/>
                  </a:solidFill>
                </a:rPr>
                <a:pPr eaLnBrk="1" hangingPunct="1">
                  <a:spcBef>
                    <a:spcPct val="50000"/>
                  </a:spcBef>
                </a:pPr>
                <a:t>24</a:t>
              </a:fld>
              <a:endParaRPr lang="en-US" altLang="en-US" sz="1100">
                <a:solidFill>
                  <a:srgbClr val="FFFFFF"/>
                </a:solidFill>
              </a:endParaRPr>
            </a:p>
          </p:txBody>
        </p:sp>
        <p:pic>
          <p:nvPicPr>
            <p:cNvPr id="7" name="Picture 16" descr="fundo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6933" y="4762500"/>
              <a:ext cx="14630399" cy="34671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8131" name="Shape 209"/>
          <p:cNvSpPr>
            <a:spLocks noChangeArrowheads="1"/>
          </p:cNvSpPr>
          <p:nvPr/>
        </p:nvSpPr>
        <p:spPr bwMode="auto">
          <a:xfrm>
            <a:off x="736600" y="559123"/>
            <a:ext cx="10688320" cy="86868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130622" tIns="65311" rIns="130622" bIns="65311"/>
          <a:lstStyle/>
          <a:p>
            <a:pPr defTabSz="1300163"/>
            <a:r>
              <a:rPr lang="en-US" sz="3600" dirty="0">
                <a:solidFill>
                  <a:srgbClr val="83D1F5"/>
                </a:solidFill>
                <a:latin typeface="Arial" charset="0"/>
                <a:cs typeface="MS PGothic" charset="0"/>
                <a:sym typeface="Helvetica" charset="0"/>
              </a:rPr>
              <a:t>Customers expect a </a:t>
            </a:r>
            <a:r>
              <a:rPr lang="en-US" sz="3600" dirty="0" err="1">
                <a:solidFill>
                  <a:srgbClr val="83D1F5"/>
                </a:solidFill>
                <a:latin typeface="Arial" charset="0"/>
                <a:cs typeface="MS PGothic" charset="0"/>
                <a:sym typeface="Helvetica" charset="0"/>
              </a:rPr>
              <a:t>personalised</a:t>
            </a:r>
            <a:r>
              <a:rPr lang="en-US" sz="3600" dirty="0">
                <a:solidFill>
                  <a:srgbClr val="83D1F5"/>
                </a:solidFill>
                <a:latin typeface="Arial" charset="0"/>
                <a:cs typeface="MS PGothic" charset="0"/>
                <a:sym typeface="Helvetica" charset="0"/>
              </a:rPr>
              <a:t> approach</a:t>
            </a:r>
          </a:p>
        </p:txBody>
      </p:sp>
      <p:sp>
        <p:nvSpPr>
          <p:cNvPr id="210" name="Shape 210"/>
          <p:cNvSpPr/>
          <p:nvPr/>
        </p:nvSpPr>
        <p:spPr>
          <a:xfrm>
            <a:off x="1097281" y="2341880"/>
            <a:ext cx="12087861" cy="3888244"/>
          </a:xfrm>
          <a:prstGeom prst="rect">
            <a:avLst/>
          </a:prstGeom>
          <a:ln w="12700">
            <a:miter lim="400000"/>
          </a:ln>
          <a:extLst/>
        </p:spPr>
        <p:txBody>
          <a:bodyPr lIns="0" tIns="0" rIns="0" bIns="0">
            <a:spAutoFit/>
          </a:bodyPr>
          <a:lstStyle/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/>
            </a:pPr>
            <a:r>
              <a:rPr sz="4000" b="1" kern="0" dirty="0">
                <a:latin typeface="+mj-lt"/>
                <a:ea typeface="+mj-ea"/>
                <a:cs typeface="+mj-cs"/>
                <a:sym typeface="Helvetica"/>
              </a:rPr>
              <a:t>Make it convenient and easy to interact with you</a:t>
            </a:r>
            <a:endParaRPr sz="2900" kern="0" dirty="0">
              <a:latin typeface="+mj-lt"/>
              <a:ea typeface="+mj-ea"/>
              <a:cs typeface="+mj-cs"/>
              <a:sym typeface="Helvetica"/>
            </a:endParaRPr>
          </a:p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/>
            </a:pPr>
            <a:endParaRPr sz="4000" b="1" kern="0" dirty="0">
              <a:latin typeface="+mj-lt"/>
              <a:ea typeface="+mj-ea"/>
              <a:cs typeface="+mj-cs"/>
              <a:sym typeface="Helvetica"/>
            </a:endParaRPr>
          </a:p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/>
            </a:pPr>
            <a:r>
              <a:rPr sz="4000" b="1" kern="0" dirty="0">
                <a:latin typeface="+mj-lt"/>
                <a:ea typeface="+mj-ea"/>
                <a:cs typeface="+mj-cs"/>
                <a:sym typeface="Helvetica"/>
              </a:rPr>
              <a:t>Be there when I need you, in real time</a:t>
            </a:r>
            <a:endParaRPr sz="2900" kern="0" dirty="0">
              <a:latin typeface="+mj-lt"/>
              <a:ea typeface="+mj-ea"/>
              <a:cs typeface="+mj-cs"/>
              <a:sym typeface="Helvetica"/>
            </a:endParaRPr>
          </a:p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/>
            </a:pPr>
            <a:endParaRPr sz="4000" b="1" kern="0" dirty="0">
              <a:latin typeface="+mj-lt"/>
              <a:ea typeface="+mj-ea"/>
              <a:cs typeface="+mj-cs"/>
              <a:sym typeface="Helvetica"/>
            </a:endParaRPr>
          </a:p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/>
            </a:pPr>
            <a:r>
              <a:rPr sz="4000" b="1" kern="0" dirty="0">
                <a:latin typeface="+mj-lt"/>
                <a:ea typeface="+mj-ea"/>
                <a:cs typeface="+mj-cs"/>
                <a:sym typeface="Helvetica"/>
              </a:rPr>
              <a:t>Remember all of my interactions</a:t>
            </a:r>
            <a:endParaRPr sz="2900" kern="0" dirty="0">
              <a:latin typeface="+mj-lt"/>
              <a:ea typeface="+mj-ea"/>
              <a:cs typeface="+mj-cs"/>
              <a:sym typeface="Helvetica"/>
            </a:endParaRPr>
          </a:p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/>
            </a:pPr>
            <a:endParaRPr sz="4000" b="1" kern="0" dirty="0">
              <a:latin typeface="+mj-lt"/>
              <a:ea typeface="+mj-ea"/>
              <a:cs typeface="+mj-cs"/>
              <a:sym typeface="Helvetica"/>
            </a:endParaRPr>
          </a:p>
          <a:p>
            <a:pPr algn="ctr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/>
            </a:pPr>
            <a:r>
              <a:rPr sz="4000" b="1" kern="0" dirty="0">
                <a:latin typeface="+mj-lt"/>
                <a:ea typeface="+mj-ea"/>
                <a:cs typeface="+mj-cs"/>
                <a:sym typeface="Helvetica"/>
              </a:rPr>
              <a:t>Anticipate and service my shopping needs</a:t>
            </a:r>
          </a:p>
        </p:txBody>
      </p:sp>
      <p:sp>
        <p:nvSpPr>
          <p:cNvPr id="8" name="Text Box 40"/>
          <p:cNvSpPr txBox="1">
            <a:spLocks noChangeArrowheads="1"/>
          </p:cNvSpPr>
          <p:nvPr/>
        </p:nvSpPr>
        <p:spPr bwMode="auto">
          <a:xfrm>
            <a:off x="13834292" y="7754492"/>
            <a:ext cx="654050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fld id="{D9445864-82E0-4CD0-8997-DA2E783B9D3F}" type="slidenum">
              <a:rPr lang="en-US" altLang="en-US" sz="1100">
                <a:solidFill>
                  <a:srgbClr val="FFFFFF"/>
                </a:solidFill>
              </a:rPr>
              <a:pPr eaLnBrk="1" hangingPunct="1">
                <a:spcBef>
                  <a:spcPct val="50000"/>
                </a:spcBef>
              </a:pPr>
              <a:t>24</a:t>
            </a:fld>
            <a:endParaRPr lang="en-US" altLang="en-US" sz="11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8860928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 bwMode="auto">
          <a:xfrm>
            <a:off x="0" y="0"/>
            <a:ext cx="14630400" cy="8229600"/>
          </a:xfrm>
          <a:prstGeom prst="rect">
            <a:avLst/>
          </a:prstGeom>
          <a:solidFill>
            <a:srgbClr val="002F4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3065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grpSp>
        <p:nvGrpSpPr>
          <p:cNvPr id="12" name="Group 15"/>
          <p:cNvGrpSpPr>
            <a:grpSpLocks/>
          </p:cNvGrpSpPr>
          <p:nvPr/>
        </p:nvGrpSpPr>
        <p:grpSpPr bwMode="auto">
          <a:xfrm>
            <a:off x="-16933" y="4762500"/>
            <a:ext cx="14647334" cy="3467100"/>
            <a:chOff x="-16933" y="4762500"/>
            <a:chExt cx="14630399" cy="3467101"/>
          </a:xfrm>
        </p:grpSpPr>
        <p:sp>
          <p:nvSpPr>
            <p:cNvPr id="13" name="Text Box 40"/>
            <p:cNvSpPr txBox="1">
              <a:spLocks noChangeArrowheads="1"/>
            </p:cNvSpPr>
            <p:nvPr/>
          </p:nvSpPr>
          <p:spPr bwMode="auto">
            <a:xfrm>
              <a:off x="13760450" y="7864475"/>
              <a:ext cx="654050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fld id="{D9445864-82E0-4CD0-8997-DA2E783B9D3F}" type="slidenum">
                <a:rPr lang="en-US" altLang="en-US" sz="1100">
                  <a:solidFill>
                    <a:srgbClr val="FFFFFF"/>
                  </a:solidFill>
                </a:rPr>
                <a:pPr eaLnBrk="1" hangingPunct="1">
                  <a:spcBef>
                    <a:spcPct val="50000"/>
                  </a:spcBef>
                </a:pPr>
                <a:t>25</a:t>
              </a:fld>
              <a:endParaRPr lang="en-US" altLang="en-US" sz="1100">
                <a:solidFill>
                  <a:srgbClr val="FFFFFF"/>
                </a:solidFill>
              </a:endParaRPr>
            </a:p>
          </p:txBody>
        </p:sp>
        <p:pic>
          <p:nvPicPr>
            <p:cNvPr id="14" name="Picture 16" descr="fundo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6933" y="4762500"/>
              <a:ext cx="14630399" cy="34671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5" name="Text Box 40"/>
          <p:cNvSpPr txBox="1">
            <a:spLocks noChangeArrowheads="1"/>
          </p:cNvSpPr>
          <p:nvPr/>
        </p:nvSpPr>
        <p:spPr bwMode="auto">
          <a:xfrm>
            <a:off x="13834292" y="7754492"/>
            <a:ext cx="654050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fld id="{D9445864-82E0-4CD0-8997-DA2E783B9D3F}" type="slidenum">
              <a:rPr lang="en-US" altLang="en-US" sz="1100">
                <a:solidFill>
                  <a:srgbClr val="FFFFFF"/>
                </a:solidFill>
              </a:rPr>
              <a:pPr eaLnBrk="1" hangingPunct="1">
                <a:spcBef>
                  <a:spcPct val="50000"/>
                </a:spcBef>
              </a:pPr>
              <a:t>25</a:t>
            </a:fld>
            <a:endParaRPr lang="en-US" altLang="en-US" sz="1100" dirty="0">
              <a:solidFill>
                <a:srgbClr val="FFFFFF"/>
              </a:solidFill>
            </a:endParaRPr>
          </a:p>
        </p:txBody>
      </p:sp>
      <p:sp>
        <p:nvSpPr>
          <p:cNvPr id="213" name="Shape 213"/>
          <p:cNvSpPr/>
          <p:nvPr/>
        </p:nvSpPr>
        <p:spPr>
          <a:xfrm>
            <a:off x="736600" y="498672"/>
            <a:ext cx="13276619" cy="1285524"/>
          </a:xfrm>
          <a:prstGeom prst="rect">
            <a:avLst/>
          </a:prstGeom>
          <a:extLst/>
        </p:spPr>
        <p:txBody>
          <a:bodyPr lIns="130622" tIns="65311" rIns="130622" bIns="65311"/>
          <a:lstStyle/>
          <a:p>
            <a:pPr defTabSz="1300163"/>
            <a:r>
              <a:rPr sz="3600" dirty="0">
                <a:solidFill>
                  <a:srgbClr val="83D1F5"/>
                </a:solidFill>
                <a:latin typeface="Arial" charset="0"/>
                <a:cs typeface="MS PGothic" charset="0"/>
                <a:sym typeface="Helvetica"/>
              </a:rPr>
              <a:t>Retailers must embrace change, find new ways to understand,</a:t>
            </a:r>
            <a:endParaRPr sz="3600" dirty="0">
              <a:solidFill>
                <a:srgbClr val="83D1F5"/>
              </a:solidFill>
              <a:latin typeface="Arial" charset="0"/>
              <a:cs typeface="MS PGothic" charset="0"/>
              <a:sym typeface="Arial"/>
            </a:endParaRPr>
          </a:p>
          <a:p>
            <a:pPr defTabSz="1300163"/>
            <a:r>
              <a:rPr sz="3600" dirty="0">
                <a:solidFill>
                  <a:srgbClr val="83D1F5"/>
                </a:solidFill>
                <a:latin typeface="Arial" charset="0"/>
                <a:cs typeface="MS PGothic" charset="0"/>
                <a:sym typeface="Helvetica"/>
              </a:rPr>
              <a:t>engage and fulfill on consumer demand</a:t>
            </a:r>
          </a:p>
        </p:txBody>
      </p:sp>
      <p:pic>
        <p:nvPicPr>
          <p:cNvPr id="49156" name="image18.png"/>
          <p:cNvPicPr>
            <a:picLocks noChangeAspect="1" noChangeArrowheads="1"/>
          </p:cNvPicPr>
          <p:nvPr/>
        </p:nvPicPr>
        <p:blipFill>
          <a:blip r:embed="rId3">
            <a:alphaModFix/>
            <a:biLevel thresh="25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788142" y="3220720"/>
            <a:ext cx="767080" cy="975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pic>
        <p:nvPicPr>
          <p:cNvPr id="49157" name="image19.png"/>
          <p:cNvPicPr>
            <a:picLocks noChangeAspect="1" noChangeArrowheads="1"/>
          </p:cNvPicPr>
          <p:nvPr/>
        </p:nvPicPr>
        <p:blipFill>
          <a:blip r:embed="rId4">
            <a:alphaModFix/>
            <a:biLevel thresh="25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054342" y="3247391"/>
            <a:ext cx="693419" cy="9220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pic>
        <p:nvPicPr>
          <p:cNvPr id="49158" name="image20.png"/>
          <p:cNvPicPr>
            <a:picLocks noChangeAspect="1" noChangeArrowheads="1"/>
          </p:cNvPicPr>
          <p:nvPr/>
        </p:nvPicPr>
        <p:blipFill>
          <a:blip r:embed="rId5">
            <a:alphaModFix/>
            <a:biLevel thresh="25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54221" y="3247391"/>
            <a:ext cx="1016000" cy="9220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pic>
        <p:nvPicPr>
          <p:cNvPr id="49159" name="image21.png"/>
          <p:cNvPicPr>
            <a:picLocks noChangeAspect="1" noChangeArrowheads="1"/>
          </p:cNvPicPr>
          <p:nvPr/>
        </p:nvPicPr>
        <p:blipFill>
          <a:blip r:embed="rId6">
            <a:alphaModFix/>
            <a:biLevel thresh="25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846582" y="3247391"/>
            <a:ext cx="624840" cy="9220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218" name="Shape 218"/>
          <p:cNvSpPr/>
          <p:nvPr/>
        </p:nvSpPr>
        <p:spPr>
          <a:xfrm>
            <a:off x="1252222" y="4559301"/>
            <a:ext cx="1813560" cy="810735"/>
          </a:xfrm>
          <a:prstGeom prst="rect">
            <a:avLst/>
          </a:prstGeom>
          <a:ln w="12700">
            <a:miter lim="400000"/>
          </a:ln>
          <a:extLst/>
        </p:spPr>
        <p:txBody>
          <a:bodyPr lIns="0" tIns="0" rIns="0" bIns="0">
            <a:spAutoFit/>
          </a:bodyPr>
          <a:lstStyle/>
          <a:p>
            <a:pPr algn="ctr" defTabSz="73152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/>
            </a:pPr>
            <a:r>
              <a:rPr sz="2900" b="1" kern="0">
                <a:solidFill>
                  <a:srgbClr val="FFFF00"/>
                </a:solidFill>
                <a:latin typeface="+mj-lt"/>
                <a:ea typeface="+mj-ea"/>
                <a:cs typeface="+mj-cs"/>
                <a:sym typeface="Helvetica"/>
              </a:rPr>
              <a:t>Engage in</a:t>
            </a:r>
            <a:endParaRPr sz="2900" kern="0">
              <a:solidFill>
                <a:srgbClr val="FFFF00"/>
              </a:solidFill>
              <a:latin typeface="Arial"/>
              <a:ea typeface="Arial"/>
              <a:cs typeface="Arial"/>
              <a:sym typeface="Arial"/>
            </a:endParaRPr>
          </a:p>
          <a:p>
            <a:pPr algn="ctr" defTabSz="73152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/>
            </a:pPr>
            <a:r>
              <a:rPr sz="2900" b="1" kern="0">
                <a:solidFill>
                  <a:srgbClr val="FFFF00"/>
                </a:solidFill>
                <a:latin typeface="+mj-lt"/>
                <a:ea typeface="+mj-ea"/>
                <a:cs typeface="+mj-cs"/>
                <a:sym typeface="Helvetica"/>
              </a:rPr>
              <a:t>Context</a:t>
            </a:r>
          </a:p>
        </p:txBody>
      </p:sp>
      <p:sp>
        <p:nvSpPr>
          <p:cNvPr id="219" name="Shape 219"/>
          <p:cNvSpPr/>
          <p:nvPr/>
        </p:nvSpPr>
        <p:spPr>
          <a:xfrm>
            <a:off x="4213861" y="4559301"/>
            <a:ext cx="1696720" cy="810735"/>
          </a:xfrm>
          <a:prstGeom prst="rect">
            <a:avLst/>
          </a:prstGeom>
          <a:ln w="12700">
            <a:miter lim="400000"/>
          </a:ln>
          <a:extLst/>
        </p:spPr>
        <p:txBody>
          <a:bodyPr lIns="0" tIns="0" rIns="0" bIns="0">
            <a:spAutoFit/>
          </a:bodyPr>
          <a:lstStyle/>
          <a:p>
            <a:pPr algn="ctr" defTabSz="73152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/>
            </a:pPr>
            <a:r>
              <a:rPr sz="2900" b="1" kern="0">
                <a:solidFill>
                  <a:srgbClr val="FFFF00"/>
                </a:solidFill>
                <a:latin typeface="+mj-lt"/>
                <a:ea typeface="+mj-ea"/>
                <a:cs typeface="+mj-cs"/>
                <a:sym typeface="Helvetica"/>
              </a:rPr>
              <a:t>Seamless</a:t>
            </a:r>
            <a:endParaRPr sz="2900" kern="0">
              <a:solidFill>
                <a:srgbClr val="FFFF00"/>
              </a:solidFill>
              <a:latin typeface="Arial"/>
              <a:ea typeface="Arial"/>
              <a:cs typeface="Arial"/>
              <a:sym typeface="Arial"/>
            </a:endParaRPr>
          </a:p>
          <a:p>
            <a:pPr algn="ctr" defTabSz="73152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/>
            </a:pPr>
            <a:r>
              <a:rPr sz="2900" b="1" kern="0">
                <a:solidFill>
                  <a:srgbClr val="FFFF00"/>
                </a:solidFill>
                <a:latin typeface="+mj-lt"/>
                <a:ea typeface="+mj-ea"/>
                <a:cs typeface="+mj-cs"/>
                <a:sym typeface="Helvetica"/>
              </a:rPr>
              <a:t>Shopping</a:t>
            </a:r>
          </a:p>
        </p:txBody>
      </p:sp>
      <p:sp>
        <p:nvSpPr>
          <p:cNvPr id="220" name="Shape 220"/>
          <p:cNvSpPr/>
          <p:nvPr/>
        </p:nvSpPr>
        <p:spPr>
          <a:xfrm>
            <a:off x="7061201" y="4559301"/>
            <a:ext cx="2679701" cy="1212383"/>
          </a:xfrm>
          <a:prstGeom prst="rect">
            <a:avLst/>
          </a:prstGeom>
          <a:ln w="12700">
            <a:miter lim="400000"/>
          </a:ln>
          <a:extLst/>
        </p:spPr>
        <p:txBody>
          <a:bodyPr lIns="0" tIns="0" rIns="0" bIns="0">
            <a:spAutoFit/>
          </a:bodyPr>
          <a:lstStyle/>
          <a:p>
            <a:pPr algn="ctr" defTabSz="73152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/>
            </a:pPr>
            <a:r>
              <a:rPr sz="2900" b="1" kern="0">
                <a:solidFill>
                  <a:srgbClr val="FFFF00"/>
                </a:solidFill>
                <a:latin typeface="+mj-lt"/>
                <a:ea typeface="+mj-ea"/>
                <a:cs typeface="+mj-cs"/>
                <a:sym typeface="Helvetica"/>
              </a:rPr>
              <a:t>Innovate, transform</a:t>
            </a:r>
            <a:endParaRPr sz="2900" kern="0">
              <a:solidFill>
                <a:srgbClr val="FFFF00"/>
              </a:solidFill>
              <a:latin typeface="Arial"/>
              <a:ea typeface="Arial"/>
              <a:cs typeface="Arial"/>
              <a:sym typeface="Arial"/>
            </a:endParaRPr>
          </a:p>
          <a:p>
            <a:pPr algn="ctr" defTabSz="73152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/>
            </a:pPr>
            <a:r>
              <a:rPr sz="2900" b="1" kern="0">
                <a:solidFill>
                  <a:srgbClr val="FFFF00"/>
                </a:solidFill>
                <a:latin typeface="+mj-lt"/>
                <a:ea typeface="+mj-ea"/>
                <a:cs typeface="+mj-cs"/>
                <a:sym typeface="Helvetica"/>
              </a:rPr>
              <a:t>experiment</a:t>
            </a:r>
          </a:p>
        </p:txBody>
      </p:sp>
      <p:sp>
        <p:nvSpPr>
          <p:cNvPr id="221" name="Shape 221"/>
          <p:cNvSpPr/>
          <p:nvPr/>
        </p:nvSpPr>
        <p:spPr>
          <a:xfrm>
            <a:off x="10891520" y="4559301"/>
            <a:ext cx="2560320" cy="810735"/>
          </a:xfrm>
          <a:prstGeom prst="rect">
            <a:avLst/>
          </a:prstGeom>
          <a:ln w="12700">
            <a:miter lim="400000"/>
          </a:ln>
          <a:extLst/>
        </p:spPr>
        <p:txBody>
          <a:bodyPr lIns="0" tIns="0" rIns="0" bIns="0">
            <a:spAutoFit/>
          </a:bodyPr>
          <a:lstStyle/>
          <a:p>
            <a:pPr algn="ctr" defTabSz="73152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/>
            </a:pPr>
            <a:r>
              <a:rPr sz="2900" b="1" kern="0">
                <a:solidFill>
                  <a:srgbClr val="FFFF00"/>
                </a:solidFill>
                <a:latin typeface="+mj-lt"/>
                <a:ea typeface="+mj-ea"/>
                <a:cs typeface="+mj-cs"/>
                <a:sym typeface="Helvetica"/>
              </a:rPr>
              <a:t>Protect and</a:t>
            </a:r>
            <a:endParaRPr sz="2900" kern="0">
              <a:solidFill>
                <a:srgbClr val="FFFF00"/>
              </a:solidFill>
              <a:latin typeface="Arial"/>
              <a:ea typeface="Arial"/>
              <a:cs typeface="Arial"/>
              <a:sym typeface="Arial"/>
            </a:endParaRPr>
          </a:p>
          <a:p>
            <a:pPr algn="ctr" defTabSz="73152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1800"/>
            </a:pPr>
            <a:r>
              <a:rPr sz="2900" b="1" kern="0">
                <a:solidFill>
                  <a:srgbClr val="FFFF00"/>
                </a:solidFill>
                <a:latin typeface="+mj-lt"/>
                <a:ea typeface="+mj-ea"/>
                <a:cs typeface="+mj-cs"/>
                <a:sym typeface="Helvetica"/>
              </a:rPr>
              <a:t>leverage data</a:t>
            </a:r>
          </a:p>
        </p:txBody>
      </p:sp>
    </p:spTree>
    <p:extLst>
      <p:ext uri="{BB962C8B-B14F-4D97-AF65-F5344CB8AC3E}">
        <p14:creationId xmlns:p14="http://schemas.microsoft.com/office/powerpoint/2010/main" xmlns="" val="417094082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 bwMode="auto">
          <a:xfrm>
            <a:off x="0" y="0"/>
            <a:ext cx="14630400" cy="8229600"/>
          </a:xfrm>
          <a:prstGeom prst="rect">
            <a:avLst/>
          </a:prstGeom>
          <a:solidFill>
            <a:srgbClr val="002F4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3065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grpSp>
        <p:nvGrpSpPr>
          <p:cNvPr id="12" name="Group 15"/>
          <p:cNvGrpSpPr>
            <a:grpSpLocks/>
          </p:cNvGrpSpPr>
          <p:nvPr/>
        </p:nvGrpSpPr>
        <p:grpSpPr bwMode="auto">
          <a:xfrm>
            <a:off x="-16933" y="4762500"/>
            <a:ext cx="14647334" cy="3467100"/>
            <a:chOff x="-16933" y="4762500"/>
            <a:chExt cx="14630399" cy="3467101"/>
          </a:xfrm>
        </p:grpSpPr>
        <p:sp>
          <p:nvSpPr>
            <p:cNvPr id="13" name="Text Box 40"/>
            <p:cNvSpPr txBox="1">
              <a:spLocks noChangeArrowheads="1"/>
            </p:cNvSpPr>
            <p:nvPr/>
          </p:nvSpPr>
          <p:spPr bwMode="auto">
            <a:xfrm>
              <a:off x="13760450" y="7864475"/>
              <a:ext cx="654050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fld id="{D9445864-82E0-4CD0-8997-DA2E783B9D3F}" type="slidenum">
                <a:rPr lang="en-US" altLang="en-US" sz="1100">
                  <a:solidFill>
                    <a:srgbClr val="FFFFFF"/>
                  </a:solidFill>
                </a:rPr>
                <a:pPr eaLnBrk="1" hangingPunct="1">
                  <a:spcBef>
                    <a:spcPct val="50000"/>
                  </a:spcBef>
                </a:pPr>
                <a:t>26</a:t>
              </a:fld>
              <a:endParaRPr lang="en-US" altLang="en-US" sz="1100">
                <a:solidFill>
                  <a:srgbClr val="FFFFFF"/>
                </a:solidFill>
              </a:endParaRPr>
            </a:p>
          </p:txBody>
        </p:sp>
        <p:pic>
          <p:nvPicPr>
            <p:cNvPr id="14" name="Picture 16" descr="fundo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6933" y="4762500"/>
              <a:ext cx="14630399" cy="34671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5" name="Text Box 40"/>
          <p:cNvSpPr txBox="1">
            <a:spLocks noChangeArrowheads="1"/>
          </p:cNvSpPr>
          <p:nvPr/>
        </p:nvSpPr>
        <p:spPr bwMode="auto">
          <a:xfrm>
            <a:off x="13834292" y="7754492"/>
            <a:ext cx="654050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fld id="{D9445864-82E0-4CD0-8997-DA2E783B9D3F}" type="slidenum">
              <a:rPr lang="en-US" altLang="en-US" sz="1100">
                <a:solidFill>
                  <a:srgbClr val="FFFFFF"/>
                </a:solidFill>
              </a:rPr>
              <a:pPr eaLnBrk="1" hangingPunct="1">
                <a:spcBef>
                  <a:spcPct val="50000"/>
                </a:spcBef>
              </a:pPr>
              <a:t>26</a:t>
            </a:fld>
            <a:endParaRPr lang="en-US" altLang="en-US" sz="1100" dirty="0">
              <a:solidFill>
                <a:srgbClr val="FFFFFF"/>
              </a:solidFill>
            </a:endParaRPr>
          </a:p>
        </p:txBody>
      </p:sp>
      <p:sp>
        <p:nvSpPr>
          <p:cNvPr id="50179" name="Shape 224"/>
          <p:cNvSpPr>
            <a:spLocks noGrp="1"/>
          </p:cNvSpPr>
          <p:nvPr>
            <p:ph type="body" idx="4294967295"/>
          </p:nvPr>
        </p:nvSpPr>
        <p:spPr>
          <a:xfrm>
            <a:off x="2582067" y="2485232"/>
            <a:ext cx="3012412" cy="1219597"/>
          </a:xfrm>
          <a:prstGeom prst="rect">
            <a:avLst/>
          </a:prstGeom>
        </p:spPr>
        <p:txBody>
          <a:bodyPr lIns="146275" tIns="146275" rIns="146275" bIns="146275"/>
          <a:lstStyle/>
          <a:p>
            <a:pPr marL="0" indent="0" eaLnBrk="1" hangingPunct="1">
              <a:spcBef>
                <a:spcPct val="0"/>
              </a:spcBef>
              <a:buNone/>
            </a:pPr>
            <a:r>
              <a:rPr lang="en-US" sz="1900" dirty="0">
                <a:solidFill>
                  <a:srgbClr val="FFFFFF"/>
                </a:solidFill>
                <a:latin typeface="Helvetica" charset="0"/>
                <a:cs typeface="Helvetica" charset="0"/>
                <a:sym typeface="Helvetica" charset="0"/>
              </a:rPr>
              <a:t>Shoppers want to check inventory avail before going to store</a:t>
            </a:r>
          </a:p>
        </p:txBody>
      </p:sp>
      <p:sp>
        <p:nvSpPr>
          <p:cNvPr id="50180" name="Shape 225"/>
          <p:cNvSpPr>
            <a:spLocks noChangeArrowheads="1"/>
          </p:cNvSpPr>
          <p:nvPr/>
        </p:nvSpPr>
        <p:spPr bwMode="auto">
          <a:xfrm>
            <a:off x="2541455" y="5416958"/>
            <a:ext cx="3261360" cy="1172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146275" tIns="146275" rIns="146275" bIns="146275">
            <a:spAutoFit/>
          </a:bodyPr>
          <a:lstStyle/>
          <a:p>
            <a:pPr defTabSz="731520"/>
            <a:r>
              <a:rPr lang="en-US" sz="1900" dirty="0">
                <a:solidFill>
                  <a:srgbClr val="FFFFFF"/>
                </a:solidFill>
                <a:latin typeface="Helvetica" charset="0"/>
                <a:cs typeface="Helvetica" charset="0"/>
                <a:sym typeface="Helvetica" charset="0"/>
              </a:rPr>
              <a:t>Consumers see the benefit of sharing mobile for text with retailers</a:t>
            </a:r>
          </a:p>
        </p:txBody>
      </p:sp>
      <p:sp>
        <p:nvSpPr>
          <p:cNvPr id="50181" name="Shape 226"/>
          <p:cNvSpPr>
            <a:spLocks noChangeArrowheads="1"/>
          </p:cNvSpPr>
          <p:nvPr/>
        </p:nvSpPr>
        <p:spPr bwMode="auto">
          <a:xfrm>
            <a:off x="8298440" y="2442952"/>
            <a:ext cx="3263901" cy="5877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146275" tIns="146275" rIns="146275" bIns="146275">
            <a:spAutoFit/>
          </a:bodyPr>
          <a:lstStyle/>
          <a:p>
            <a:pPr defTabSz="731520"/>
            <a:r>
              <a:rPr lang="en-US" sz="1900" dirty="0">
                <a:solidFill>
                  <a:srgbClr val="FFFFFF"/>
                </a:solidFill>
                <a:latin typeface="Helvetica" charset="0"/>
                <a:cs typeface="Helvetica" charset="0"/>
                <a:sym typeface="Helvetica" charset="0"/>
              </a:rPr>
              <a:t>Devices in the </a:t>
            </a:r>
            <a:r>
              <a:rPr lang="en-US" sz="1900" dirty="0" err="1">
                <a:solidFill>
                  <a:srgbClr val="FFFFFF"/>
                </a:solidFill>
                <a:latin typeface="Helvetica" charset="0"/>
                <a:cs typeface="Helvetica" charset="0"/>
                <a:sym typeface="Helvetica" charset="0"/>
              </a:rPr>
              <a:t>IoT</a:t>
            </a:r>
            <a:r>
              <a:rPr lang="en-US" sz="1900" dirty="0">
                <a:solidFill>
                  <a:srgbClr val="FFFFFF"/>
                </a:solidFill>
                <a:latin typeface="Helvetica" charset="0"/>
                <a:cs typeface="Helvetica" charset="0"/>
                <a:sym typeface="Helvetica" charset="0"/>
              </a:rPr>
              <a:t> by 2020</a:t>
            </a:r>
          </a:p>
        </p:txBody>
      </p:sp>
      <p:sp>
        <p:nvSpPr>
          <p:cNvPr id="50182" name="Shape 227"/>
          <p:cNvSpPr>
            <a:spLocks noChangeArrowheads="1"/>
          </p:cNvSpPr>
          <p:nvPr/>
        </p:nvSpPr>
        <p:spPr bwMode="auto">
          <a:xfrm>
            <a:off x="8319432" y="5385470"/>
            <a:ext cx="3263901" cy="1172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146275" tIns="146275" rIns="146275" bIns="146275">
            <a:spAutoFit/>
          </a:bodyPr>
          <a:lstStyle/>
          <a:p>
            <a:pPr defTabSz="731520"/>
            <a:r>
              <a:rPr lang="en-US" sz="1900" dirty="0">
                <a:solidFill>
                  <a:srgbClr val="FFFFFF"/>
                </a:solidFill>
                <a:latin typeface="Helvetica" charset="0"/>
                <a:cs typeface="Helvetica" charset="0"/>
                <a:sym typeface="Helvetica" charset="0"/>
              </a:rPr>
              <a:t>Greater multi-channel consumers spend than single-channel shoppers</a:t>
            </a:r>
          </a:p>
        </p:txBody>
      </p:sp>
      <p:sp>
        <p:nvSpPr>
          <p:cNvPr id="50183" name="Shape 228"/>
          <p:cNvSpPr>
            <a:spLocks noChangeArrowheads="1"/>
          </p:cNvSpPr>
          <p:nvPr/>
        </p:nvSpPr>
        <p:spPr bwMode="auto">
          <a:xfrm>
            <a:off x="2679702" y="1450341"/>
            <a:ext cx="2176779" cy="2214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defTabSz="292101"/>
            <a:r>
              <a:rPr lang="en-US" sz="6400" b="1" dirty="0">
                <a:solidFill>
                  <a:srgbClr val="FFFF00"/>
                </a:solidFill>
                <a:latin typeface="Helvetica" charset="0"/>
                <a:cs typeface="Helvetica" charset="0"/>
                <a:sym typeface="Helvetica" charset="0"/>
              </a:rPr>
              <a:t>60%</a:t>
            </a:r>
          </a:p>
        </p:txBody>
      </p:sp>
      <p:sp>
        <p:nvSpPr>
          <p:cNvPr id="50184" name="Shape 229"/>
          <p:cNvSpPr>
            <a:spLocks noChangeArrowheads="1"/>
          </p:cNvSpPr>
          <p:nvPr/>
        </p:nvSpPr>
        <p:spPr bwMode="auto">
          <a:xfrm>
            <a:off x="2679702" y="4452621"/>
            <a:ext cx="2176779" cy="1816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defTabSz="292101"/>
            <a:r>
              <a:rPr lang="en-US" sz="6400" b="1">
                <a:solidFill>
                  <a:srgbClr val="FFFF00"/>
                </a:solidFill>
                <a:latin typeface="Helvetica" charset="0"/>
                <a:cs typeface="Helvetica" charset="0"/>
                <a:sym typeface="Helvetica" charset="0"/>
              </a:rPr>
              <a:t>54%</a:t>
            </a:r>
          </a:p>
        </p:txBody>
      </p:sp>
      <p:sp>
        <p:nvSpPr>
          <p:cNvPr id="50185" name="Shape 230"/>
          <p:cNvSpPr>
            <a:spLocks noChangeArrowheads="1"/>
          </p:cNvSpPr>
          <p:nvPr/>
        </p:nvSpPr>
        <p:spPr bwMode="auto">
          <a:xfrm>
            <a:off x="8430262" y="4429761"/>
            <a:ext cx="2176779" cy="1816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defTabSz="292101"/>
            <a:r>
              <a:rPr lang="en-US" sz="6400" b="1">
                <a:solidFill>
                  <a:srgbClr val="FFFF00"/>
                </a:solidFill>
                <a:latin typeface="Helvetica" charset="0"/>
                <a:cs typeface="Helvetica" charset="0"/>
                <a:sym typeface="Helvetica" charset="0"/>
              </a:rPr>
              <a:t>82%</a:t>
            </a:r>
          </a:p>
        </p:txBody>
      </p:sp>
      <p:sp>
        <p:nvSpPr>
          <p:cNvPr id="50186" name="Shape 231"/>
          <p:cNvSpPr>
            <a:spLocks noChangeArrowheads="1"/>
          </p:cNvSpPr>
          <p:nvPr/>
        </p:nvSpPr>
        <p:spPr bwMode="auto">
          <a:xfrm>
            <a:off x="736600" y="338723"/>
            <a:ext cx="10688320" cy="86868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130622" tIns="65311" rIns="130622" bIns="65311"/>
          <a:lstStyle/>
          <a:p>
            <a:pPr defTabSz="1300163"/>
            <a:r>
              <a:rPr lang="en-US" sz="3600" dirty="0">
                <a:solidFill>
                  <a:srgbClr val="83D1F5"/>
                </a:solidFill>
                <a:latin typeface="Arial" charset="0"/>
                <a:cs typeface="MS PGothic" charset="0"/>
                <a:sym typeface="Helvetica" charset="0"/>
              </a:rPr>
              <a:t>Industry statistics confirm these </a:t>
            </a:r>
            <a:r>
              <a:rPr lang="en-US" sz="3600" dirty="0">
                <a:solidFill>
                  <a:srgbClr val="FFFF00"/>
                </a:solidFill>
                <a:latin typeface="Arial" charset="0"/>
                <a:cs typeface="MS PGothic" charset="0"/>
                <a:sym typeface="Helvetica" charset="0"/>
              </a:rPr>
              <a:t>mega-trends</a:t>
            </a:r>
            <a:r>
              <a:rPr lang="en-US" sz="3600" dirty="0">
                <a:solidFill>
                  <a:srgbClr val="83D1F5"/>
                </a:solidFill>
                <a:latin typeface="Arial" charset="0"/>
                <a:cs typeface="MS PGothic" charset="0"/>
                <a:sym typeface="Helvetica" charset="0"/>
              </a:rPr>
              <a:t>:</a:t>
            </a:r>
          </a:p>
        </p:txBody>
      </p:sp>
      <p:sp>
        <p:nvSpPr>
          <p:cNvPr id="50187" name="Shape 232"/>
          <p:cNvSpPr>
            <a:spLocks noChangeArrowheads="1"/>
          </p:cNvSpPr>
          <p:nvPr/>
        </p:nvSpPr>
        <p:spPr bwMode="auto">
          <a:xfrm>
            <a:off x="8430262" y="1450341"/>
            <a:ext cx="2176779" cy="2214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defTabSz="292101"/>
            <a:r>
              <a:rPr lang="en-US" sz="6400" b="1">
                <a:solidFill>
                  <a:srgbClr val="FFFF00"/>
                </a:solidFill>
                <a:latin typeface="Helvetica" charset="0"/>
                <a:cs typeface="Helvetica" charset="0"/>
                <a:sym typeface="Helvetica" charset="0"/>
              </a:rPr>
              <a:t>26B</a:t>
            </a:r>
          </a:p>
        </p:txBody>
      </p:sp>
    </p:spTree>
    <p:extLst>
      <p:ext uri="{BB962C8B-B14F-4D97-AF65-F5344CB8AC3E}">
        <p14:creationId xmlns:p14="http://schemas.microsoft.com/office/powerpoint/2010/main" xmlns="" val="382004194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 bwMode="auto">
          <a:xfrm>
            <a:off x="0" y="0"/>
            <a:ext cx="14630400" cy="8229600"/>
          </a:xfrm>
          <a:prstGeom prst="rect">
            <a:avLst/>
          </a:prstGeom>
          <a:solidFill>
            <a:srgbClr val="002F4F"/>
          </a:solidFill>
          <a:ln w="952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3065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600" b="0" i="0" u="none" strike="noStrike" cap="none" normalizeH="0" baseline="0" smtClean="0">
              <a:ln>
                <a:solidFill>
                  <a:srgbClr val="FFFF00"/>
                </a:solidFill>
              </a:ln>
              <a:solidFill>
                <a:srgbClr val="FFFF00"/>
              </a:solidFill>
              <a:effectLst/>
              <a:latin typeface="Arial" pitchFamily="34" charset="0"/>
            </a:endParaRPr>
          </a:p>
        </p:txBody>
      </p:sp>
      <p:grpSp>
        <p:nvGrpSpPr>
          <p:cNvPr id="11" name="Group 15"/>
          <p:cNvGrpSpPr>
            <a:grpSpLocks/>
          </p:cNvGrpSpPr>
          <p:nvPr/>
        </p:nvGrpSpPr>
        <p:grpSpPr bwMode="auto">
          <a:xfrm>
            <a:off x="-16934" y="4762500"/>
            <a:ext cx="14827081" cy="3467100"/>
            <a:chOff x="-16933" y="4762500"/>
            <a:chExt cx="14630399" cy="3467101"/>
          </a:xfrm>
        </p:grpSpPr>
        <p:sp>
          <p:nvSpPr>
            <p:cNvPr id="12" name="Text Box 40"/>
            <p:cNvSpPr txBox="1">
              <a:spLocks noChangeArrowheads="1"/>
            </p:cNvSpPr>
            <p:nvPr/>
          </p:nvSpPr>
          <p:spPr bwMode="auto">
            <a:xfrm>
              <a:off x="13760450" y="7864475"/>
              <a:ext cx="654050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fld id="{D9445864-82E0-4CD0-8997-DA2E783B9D3F}" type="slidenum">
                <a:rPr lang="en-US" altLang="en-US" sz="1100">
                  <a:solidFill>
                    <a:srgbClr val="FFFFFF"/>
                  </a:solidFill>
                </a:rPr>
                <a:pPr eaLnBrk="1" hangingPunct="1">
                  <a:spcBef>
                    <a:spcPct val="50000"/>
                  </a:spcBef>
                </a:pPr>
                <a:t>27</a:t>
              </a:fld>
              <a:endParaRPr lang="en-US" altLang="en-US" sz="1100">
                <a:solidFill>
                  <a:srgbClr val="FFFFFF"/>
                </a:solidFill>
              </a:endParaRPr>
            </a:p>
          </p:txBody>
        </p:sp>
        <p:pic>
          <p:nvPicPr>
            <p:cNvPr id="13" name="Picture 16" descr="fundo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6933" y="4762500"/>
              <a:ext cx="14630399" cy="34671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Text Box 40"/>
          <p:cNvSpPr txBox="1">
            <a:spLocks noChangeArrowheads="1"/>
          </p:cNvSpPr>
          <p:nvPr/>
        </p:nvSpPr>
        <p:spPr bwMode="auto">
          <a:xfrm>
            <a:off x="13834292" y="7754492"/>
            <a:ext cx="654050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fld id="{D9445864-82E0-4CD0-8997-DA2E783B9D3F}" type="slidenum">
              <a:rPr lang="en-US" altLang="en-US" sz="1100">
                <a:solidFill>
                  <a:srgbClr val="FFFFFF"/>
                </a:solidFill>
              </a:rPr>
              <a:pPr eaLnBrk="1" hangingPunct="1">
                <a:spcBef>
                  <a:spcPct val="50000"/>
                </a:spcBef>
              </a:pPr>
              <a:t>27</a:t>
            </a:fld>
            <a:endParaRPr lang="en-US" altLang="en-US" sz="1100" dirty="0">
              <a:solidFill>
                <a:srgbClr val="FFFFFF"/>
              </a:solidFill>
            </a:endParaRPr>
          </a:p>
        </p:txBody>
      </p:sp>
      <p:sp>
        <p:nvSpPr>
          <p:cNvPr id="51202" name="Shape 234"/>
          <p:cNvSpPr>
            <a:spLocks noChangeArrowheads="1"/>
          </p:cNvSpPr>
          <p:nvPr/>
        </p:nvSpPr>
        <p:spPr bwMode="auto">
          <a:xfrm>
            <a:off x="736600" y="454163"/>
            <a:ext cx="10688320" cy="86868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130622" tIns="65311" rIns="130622" bIns="65311"/>
          <a:lstStyle/>
          <a:p>
            <a:pPr defTabSz="1300163"/>
            <a:r>
              <a:rPr lang="en-US" sz="3600" dirty="0">
                <a:solidFill>
                  <a:srgbClr val="83D1F5"/>
                </a:solidFill>
                <a:latin typeface="Arial" charset="0"/>
                <a:cs typeface="MS PGothic" charset="0"/>
                <a:sym typeface="Helvetica" charset="0"/>
              </a:rPr>
              <a:t>These </a:t>
            </a:r>
            <a:r>
              <a:rPr lang="en-US" sz="3600" dirty="0">
                <a:solidFill>
                  <a:srgbClr val="FFFF00"/>
                </a:solidFill>
                <a:latin typeface="Arial" charset="0"/>
                <a:cs typeface="MS PGothic" charset="0"/>
                <a:sym typeface="Helvetica" charset="0"/>
              </a:rPr>
              <a:t>mega-trends </a:t>
            </a:r>
            <a:r>
              <a:rPr lang="en-US" sz="3600" dirty="0">
                <a:solidFill>
                  <a:srgbClr val="83D1F5"/>
                </a:solidFill>
                <a:latin typeface="Arial" charset="0"/>
                <a:cs typeface="MS PGothic" charset="0"/>
                <a:sym typeface="Helvetica" charset="0"/>
              </a:rPr>
              <a:t>are creating opportunities…</a:t>
            </a:r>
          </a:p>
        </p:txBody>
      </p:sp>
      <p:sp>
        <p:nvSpPr>
          <p:cNvPr id="51204" name="Shape 236"/>
          <p:cNvSpPr>
            <a:spLocks noChangeArrowheads="1"/>
          </p:cNvSpPr>
          <p:nvPr/>
        </p:nvSpPr>
        <p:spPr bwMode="auto">
          <a:xfrm>
            <a:off x="3324198" y="1164258"/>
            <a:ext cx="10690859" cy="86868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130622" tIns="65311" rIns="130622" bIns="65311"/>
          <a:lstStyle/>
          <a:p>
            <a:pPr defTabSz="1300163"/>
            <a:r>
              <a:rPr lang="en-US" sz="3600" dirty="0">
                <a:solidFill>
                  <a:srgbClr val="83D1F5"/>
                </a:solidFill>
                <a:latin typeface="Arial" charset="0"/>
                <a:cs typeface="MS PGothic" charset="0"/>
                <a:sym typeface="Helvetica" charset="0"/>
              </a:rPr>
              <a:t>And unprecedented challenges for our industry</a:t>
            </a:r>
          </a:p>
        </p:txBody>
      </p:sp>
      <p:sp>
        <p:nvSpPr>
          <p:cNvPr id="51205" name="Shape 237"/>
          <p:cNvSpPr>
            <a:spLocks noChangeArrowheads="1"/>
          </p:cNvSpPr>
          <p:nvPr/>
        </p:nvSpPr>
        <p:spPr bwMode="auto">
          <a:xfrm>
            <a:off x="789942" y="3205705"/>
            <a:ext cx="5339080" cy="7340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731520">
              <a:lnSpc>
                <a:spcPct val="90000"/>
              </a:lnSpc>
            </a:pPr>
            <a:r>
              <a:rPr lang="en-US" b="1">
                <a:latin typeface="Helvetica" charset="0"/>
                <a:cs typeface="Helvetica" charset="0"/>
                <a:sym typeface="Helvetica" charset="0"/>
              </a:rPr>
              <a:t>Mobile and Social morph, benefit from the Internet of Things (IoT)</a:t>
            </a:r>
          </a:p>
        </p:txBody>
      </p:sp>
      <p:sp>
        <p:nvSpPr>
          <p:cNvPr id="51206" name="Shape 238"/>
          <p:cNvSpPr>
            <a:spLocks noChangeArrowheads="1"/>
          </p:cNvSpPr>
          <p:nvPr/>
        </p:nvSpPr>
        <p:spPr bwMode="auto">
          <a:xfrm>
            <a:off x="789942" y="4419825"/>
            <a:ext cx="5339080" cy="3667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731520">
              <a:lnSpc>
                <a:spcPct val="90000"/>
              </a:lnSpc>
            </a:pPr>
            <a:r>
              <a:rPr lang="en-US" b="1">
                <a:latin typeface="Helvetica" charset="0"/>
                <a:cs typeface="Helvetica" charset="0"/>
                <a:sym typeface="Helvetica" charset="0"/>
              </a:rPr>
              <a:t>Science goes mainstream</a:t>
            </a:r>
          </a:p>
        </p:txBody>
      </p:sp>
      <p:sp>
        <p:nvSpPr>
          <p:cNvPr id="51207" name="Shape 239"/>
          <p:cNvSpPr>
            <a:spLocks noChangeArrowheads="1"/>
          </p:cNvSpPr>
          <p:nvPr/>
        </p:nvSpPr>
        <p:spPr bwMode="auto">
          <a:xfrm>
            <a:off x="789942" y="5288505"/>
            <a:ext cx="5339080" cy="3667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731520">
              <a:lnSpc>
                <a:spcPct val="90000"/>
              </a:lnSpc>
            </a:pPr>
            <a:r>
              <a:rPr lang="en-US" b="1">
                <a:latin typeface="Helvetica" charset="0"/>
                <a:cs typeface="Helvetica" charset="0"/>
                <a:sym typeface="Helvetica" charset="0"/>
              </a:rPr>
              <a:t>Discretionary spend decisions</a:t>
            </a:r>
          </a:p>
        </p:txBody>
      </p:sp>
      <p:sp>
        <p:nvSpPr>
          <p:cNvPr id="51208" name="Shape 240"/>
          <p:cNvSpPr>
            <a:spLocks/>
          </p:cNvSpPr>
          <p:nvPr/>
        </p:nvSpPr>
        <p:spPr bwMode="auto">
          <a:xfrm>
            <a:off x="6835142" y="2931385"/>
            <a:ext cx="401320" cy="3017520"/>
          </a:xfrm>
          <a:custGeom>
            <a:avLst/>
            <a:gdLst>
              <a:gd name="T0" fmla="*/ 16985323 w 21600"/>
              <a:gd name="T1" fmla="*/ 2147483647 h 21600"/>
              <a:gd name="T2" fmla="*/ 16985323 w 21600"/>
              <a:gd name="T3" fmla="*/ 2147483647 h 21600"/>
              <a:gd name="T4" fmla="*/ 16985323 w 21600"/>
              <a:gd name="T5" fmla="*/ 2147483647 h 21600"/>
              <a:gd name="T6" fmla="*/ 16985323 w 21600"/>
              <a:gd name="T7" fmla="*/ 2147483647 h 21600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5965" y="0"/>
                  <a:pt x="10800" y="122"/>
                  <a:pt x="10800" y="272"/>
                </a:cubicBezTo>
                <a:lnTo>
                  <a:pt x="10800" y="10528"/>
                </a:lnTo>
                <a:cubicBezTo>
                  <a:pt x="10800" y="10678"/>
                  <a:pt x="15635" y="10800"/>
                  <a:pt x="21600" y="10800"/>
                </a:cubicBezTo>
                <a:cubicBezTo>
                  <a:pt x="15635" y="10800"/>
                  <a:pt x="10800" y="10922"/>
                  <a:pt x="10800" y="11072"/>
                </a:cubicBezTo>
                <a:lnTo>
                  <a:pt x="10800" y="21328"/>
                </a:lnTo>
                <a:cubicBezTo>
                  <a:pt x="10800" y="21478"/>
                  <a:pt x="5965" y="21600"/>
                  <a:pt x="0" y="21600"/>
                </a:cubicBezTo>
              </a:path>
            </a:pathLst>
          </a:custGeom>
          <a:noFill/>
          <a:ln w="25400">
            <a:solidFill>
              <a:srgbClr val="FFFF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0" tIns="0" rIns="0" bIns="0" anchor="ctr"/>
          <a:lstStyle/>
          <a:p>
            <a:endParaRPr lang="en-US">
              <a:ln>
                <a:solidFill>
                  <a:srgbClr val="FFFF00"/>
                </a:solidFill>
              </a:ln>
              <a:solidFill>
                <a:srgbClr val="FFFF00"/>
              </a:solidFill>
            </a:endParaRPr>
          </a:p>
        </p:txBody>
      </p:sp>
      <p:sp>
        <p:nvSpPr>
          <p:cNvPr id="51209" name="Shape 241"/>
          <p:cNvSpPr>
            <a:spLocks noChangeArrowheads="1"/>
          </p:cNvSpPr>
          <p:nvPr/>
        </p:nvSpPr>
        <p:spPr bwMode="auto">
          <a:xfrm>
            <a:off x="7942581" y="3556225"/>
            <a:ext cx="6065520" cy="3667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731520">
              <a:lnSpc>
                <a:spcPct val="90000"/>
              </a:lnSpc>
            </a:pPr>
            <a:r>
              <a:rPr lang="en-US" b="1">
                <a:solidFill>
                  <a:srgbClr val="FFFFFF"/>
                </a:solidFill>
                <a:latin typeface="Helvetica" charset="0"/>
                <a:cs typeface="Helvetica" charset="0"/>
                <a:sym typeface="Helvetica" charset="0"/>
              </a:rPr>
              <a:t>New business - and financial - models</a:t>
            </a:r>
          </a:p>
        </p:txBody>
      </p:sp>
      <p:sp>
        <p:nvSpPr>
          <p:cNvPr id="51210" name="Shape 242"/>
          <p:cNvSpPr>
            <a:spLocks noChangeArrowheads="1"/>
          </p:cNvSpPr>
          <p:nvPr/>
        </p:nvSpPr>
        <p:spPr bwMode="auto">
          <a:xfrm>
            <a:off x="7942582" y="4760185"/>
            <a:ext cx="5339080" cy="3667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731520">
              <a:lnSpc>
                <a:spcPct val="90000"/>
              </a:lnSpc>
            </a:pPr>
            <a:r>
              <a:rPr lang="en-US" b="1">
                <a:solidFill>
                  <a:srgbClr val="FFFFFF"/>
                </a:solidFill>
                <a:latin typeface="Helvetica" charset="0"/>
                <a:cs typeface="Helvetica" charset="0"/>
                <a:sym typeface="Helvetica" charset="0"/>
              </a:rPr>
              <a:t>Security &amp; Privacy</a:t>
            </a:r>
          </a:p>
        </p:txBody>
      </p:sp>
    </p:spTree>
    <p:extLst>
      <p:ext uri="{BB962C8B-B14F-4D97-AF65-F5344CB8AC3E}">
        <p14:creationId xmlns:p14="http://schemas.microsoft.com/office/powerpoint/2010/main" xmlns="" val="325615210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tangle 61"/>
          <p:cNvSpPr/>
          <p:nvPr/>
        </p:nvSpPr>
        <p:spPr bwMode="auto">
          <a:xfrm>
            <a:off x="0" y="0"/>
            <a:ext cx="14630400" cy="8229600"/>
          </a:xfrm>
          <a:prstGeom prst="rect">
            <a:avLst/>
          </a:prstGeom>
          <a:solidFill>
            <a:srgbClr val="002F4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3065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grpSp>
        <p:nvGrpSpPr>
          <p:cNvPr id="58" name="Group 15"/>
          <p:cNvGrpSpPr>
            <a:grpSpLocks/>
          </p:cNvGrpSpPr>
          <p:nvPr/>
        </p:nvGrpSpPr>
        <p:grpSpPr bwMode="auto">
          <a:xfrm>
            <a:off x="-16933" y="4762500"/>
            <a:ext cx="14647334" cy="3467100"/>
            <a:chOff x="-16933" y="4762500"/>
            <a:chExt cx="14630399" cy="3467101"/>
          </a:xfrm>
        </p:grpSpPr>
        <p:sp>
          <p:nvSpPr>
            <p:cNvPr id="59" name="Text Box 40"/>
            <p:cNvSpPr txBox="1">
              <a:spLocks noChangeArrowheads="1"/>
            </p:cNvSpPr>
            <p:nvPr/>
          </p:nvSpPr>
          <p:spPr bwMode="auto">
            <a:xfrm>
              <a:off x="13760450" y="7864475"/>
              <a:ext cx="654050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fld id="{D9445864-82E0-4CD0-8997-DA2E783B9D3F}" type="slidenum">
                <a:rPr lang="en-US" altLang="en-US" sz="1100">
                  <a:solidFill>
                    <a:srgbClr val="FFFFFF"/>
                  </a:solidFill>
                </a:rPr>
                <a:pPr eaLnBrk="1" hangingPunct="1">
                  <a:spcBef>
                    <a:spcPct val="50000"/>
                  </a:spcBef>
                </a:pPr>
                <a:t>28</a:t>
              </a:fld>
              <a:endParaRPr lang="en-US" altLang="en-US" sz="1100">
                <a:solidFill>
                  <a:srgbClr val="FFFFFF"/>
                </a:solidFill>
              </a:endParaRPr>
            </a:p>
          </p:txBody>
        </p:sp>
        <p:pic>
          <p:nvPicPr>
            <p:cNvPr id="60" name="Picture 16" descr="fundo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6933" y="4762500"/>
              <a:ext cx="14630399" cy="34671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1" name="Text Box 40"/>
          <p:cNvSpPr txBox="1">
            <a:spLocks noChangeArrowheads="1"/>
          </p:cNvSpPr>
          <p:nvPr/>
        </p:nvSpPr>
        <p:spPr bwMode="auto">
          <a:xfrm>
            <a:off x="13834292" y="7754492"/>
            <a:ext cx="654050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fld id="{D9445864-82E0-4CD0-8997-DA2E783B9D3F}" type="slidenum">
              <a:rPr lang="en-US" altLang="en-US" sz="1100">
                <a:solidFill>
                  <a:srgbClr val="FFFFFF"/>
                </a:solidFill>
              </a:rPr>
              <a:pPr eaLnBrk="1" hangingPunct="1">
                <a:spcBef>
                  <a:spcPct val="50000"/>
                </a:spcBef>
              </a:pPr>
              <a:t>28</a:t>
            </a:fld>
            <a:endParaRPr lang="en-US" altLang="en-US" sz="1100" dirty="0">
              <a:solidFill>
                <a:srgbClr val="FFFFFF"/>
              </a:solidFill>
            </a:endParaRPr>
          </a:p>
        </p:txBody>
      </p:sp>
      <p:sp>
        <p:nvSpPr>
          <p:cNvPr id="52226" name="Shape 244"/>
          <p:cNvSpPr>
            <a:spLocks noChangeArrowheads="1"/>
          </p:cNvSpPr>
          <p:nvPr/>
        </p:nvSpPr>
        <p:spPr bwMode="auto">
          <a:xfrm>
            <a:off x="736600" y="107827"/>
            <a:ext cx="10688320" cy="86868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130622" tIns="65311" rIns="130622" bIns="65311"/>
          <a:lstStyle/>
          <a:p>
            <a:pPr defTabSz="1300163"/>
            <a:r>
              <a:rPr lang="en-US" sz="3600" dirty="0">
                <a:solidFill>
                  <a:srgbClr val="83D1F5"/>
                </a:solidFill>
                <a:latin typeface="Arial" charset="0"/>
                <a:cs typeface="MS PGothic" charset="0"/>
                <a:sym typeface="Helvetica" charset="0"/>
              </a:rPr>
              <a:t>Determining the dimension of the problem:</a:t>
            </a:r>
          </a:p>
        </p:txBody>
      </p:sp>
      <p:sp>
        <p:nvSpPr>
          <p:cNvPr id="52228" name="Shape 246"/>
          <p:cNvSpPr>
            <a:spLocks noChangeArrowheads="1"/>
          </p:cNvSpPr>
          <p:nvPr/>
        </p:nvSpPr>
        <p:spPr bwMode="auto">
          <a:xfrm>
            <a:off x="4523866" y="691979"/>
            <a:ext cx="9721427" cy="86868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130622" tIns="65311" rIns="130622" bIns="65311"/>
          <a:lstStyle/>
          <a:p>
            <a:pPr defTabSz="1300163"/>
            <a:r>
              <a:rPr lang="en-US" sz="3600" dirty="0">
                <a:solidFill>
                  <a:srgbClr val="83D1F5"/>
                </a:solidFill>
                <a:latin typeface="Arial" charset="0"/>
                <a:cs typeface="MS PGothic" charset="0"/>
                <a:sym typeface="Helvetica" charset="0"/>
              </a:rPr>
              <a:t>What is important to know about a customer?</a:t>
            </a:r>
          </a:p>
        </p:txBody>
      </p:sp>
      <p:sp>
        <p:nvSpPr>
          <p:cNvPr id="52229" name="Shape 247"/>
          <p:cNvSpPr>
            <a:spLocks noChangeArrowheads="1"/>
          </p:cNvSpPr>
          <p:nvPr/>
        </p:nvSpPr>
        <p:spPr bwMode="auto">
          <a:xfrm>
            <a:off x="1946768" y="3373121"/>
            <a:ext cx="2103120" cy="7268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731520">
              <a:lnSpc>
                <a:spcPct val="90000"/>
              </a:lnSpc>
            </a:pPr>
            <a:r>
              <a:rPr lang="en-US" b="1" dirty="0">
                <a:solidFill>
                  <a:srgbClr val="FFFF8D"/>
                </a:solidFill>
                <a:latin typeface="Helvetica" charset="0"/>
                <a:cs typeface="Helvetica" charset="0"/>
                <a:sym typeface="Helvetica" charset="0"/>
              </a:rPr>
              <a:t>Transaction data</a:t>
            </a:r>
          </a:p>
        </p:txBody>
      </p:sp>
      <p:sp>
        <p:nvSpPr>
          <p:cNvPr id="52230" name="Shape 248"/>
          <p:cNvSpPr>
            <a:spLocks noChangeArrowheads="1"/>
          </p:cNvSpPr>
          <p:nvPr/>
        </p:nvSpPr>
        <p:spPr bwMode="auto">
          <a:xfrm>
            <a:off x="1845168" y="6877956"/>
            <a:ext cx="2306320" cy="7268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731520">
              <a:lnSpc>
                <a:spcPct val="90000"/>
              </a:lnSpc>
            </a:pPr>
            <a:r>
              <a:rPr lang="en-US" b="1" dirty="0">
                <a:solidFill>
                  <a:srgbClr val="FFFF8D"/>
                </a:solidFill>
                <a:latin typeface="Helvetica" charset="0"/>
                <a:cs typeface="Helvetica" charset="0"/>
                <a:sym typeface="Helvetica" charset="0"/>
              </a:rPr>
              <a:t>Social Listening</a:t>
            </a:r>
          </a:p>
        </p:txBody>
      </p:sp>
      <p:sp>
        <p:nvSpPr>
          <p:cNvPr id="52231" name="Shape 249"/>
          <p:cNvSpPr>
            <a:spLocks noChangeArrowheads="1"/>
          </p:cNvSpPr>
          <p:nvPr/>
        </p:nvSpPr>
        <p:spPr bwMode="auto">
          <a:xfrm>
            <a:off x="10358378" y="3474721"/>
            <a:ext cx="2103120" cy="7268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731520">
              <a:lnSpc>
                <a:spcPct val="90000"/>
              </a:lnSpc>
            </a:pPr>
            <a:r>
              <a:rPr lang="en-US" b="1">
                <a:solidFill>
                  <a:srgbClr val="FFFF8D"/>
                </a:solidFill>
                <a:latin typeface="Helvetica" charset="0"/>
                <a:cs typeface="Helvetica" charset="0"/>
                <a:sym typeface="Helvetica" charset="0"/>
              </a:rPr>
              <a:t>External Forces</a:t>
            </a:r>
          </a:p>
        </p:txBody>
      </p:sp>
      <p:sp>
        <p:nvSpPr>
          <p:cNvPr id="52232" name="Shape 250"/>
          <p:cNvSpPr>
            <a:spLocks noChangeArrowheads="1"/>
          </p:cNvSpPr>
          <p:nvPr/>
        </p:nvSpPr>
        <p:spPr bwMode="auto">
          <a:xfrm>
            <a:off x="9568438" y="6877956"/>
            <a:ext cx="3683000" cy="7268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731520">
              <a:lnSpc>
                <a:spcPct val="90000"/>
              </a:lnSpc>
            </a:pPr>
            <a:r>
              <a:rPr lang="en-US" b="1" dirty="0">
                <a:solidFill>
                  <a:srgbClr val="FFFF8D"/>
                </a:solidFill>
                <a:latin typeface="Helvetica" charset="0"/>
                <a:cs typeface="Helvetica" charset="0"/>
                <a:sym typeface="Helvetica" charset="0"/>
              </a:rPr>
              <a:t>Lifestyle / Demographics</a:t>
            </a:r>
          </a:p>
        </p:txBody>
      </p:sp>
      <p:grpSp>
        <p:nvGrpSpPr>
          <p:cNvPr id="52233" name="Group 254"/>
          <p:cNvGrpSpPr>
            <a:grpSpLocks/>
          </p:cNvGrpSpPr>
          <p:nvPr/>
        </p:nvGrpSpPr>
        <p:grpSpPr bwMode="auto">
          <a:xfrm>
            <a:off x="3213102" y="878841"/>
            <a:ext cx="7503160" cy="7543800"/>
            <a:chOff x="0" y="0"/>
            <a:chExt cx="4688370" cy="4715023"/>
          </a:xfrm>
        </p:grpSpPr>
        <p:sp>
          <p:nvSpPr>
            <p:cNvPr id="52279" name="Shape 251"/>
            <p:cNvSpPr>
              <a:spLocks/>
            </p:cNvSpPr>
            <p:nvPr/>
          </p:nvSpPr>
          <p:spPr bwMode="auto">
            <a:xfrm rot="5400000">
              <a:off x="2542818" y="377072"/>
              <a:ext cx="1811740" cy="1801471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2147483647 h 21600"/>
                <a:gd name="T8" fmla="*/ 0 60000 65536"/>
                <a:gd name="T9" fmla="*/ 5898240 60000 65536"/>
                <a:gd name="T10" fmla="*/ 11796480 60000 65536"/>
                <a:gd name="T11" fmla="*/ 1769472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 extrusionOk="0">
                  <a:moveTo>
                    <a:pt x="0" y="21599"/>
                  </a:moveTo>
                  <a:cubicBezTo>
                    <a:pt x="0" y="9670"/>
                    <a:pt x="9619" y="0"/>
                    <a:pt x="21484" y="0"/>
                  </a:cubicBezTo>
                  <a:lnTo>
                    <a:pt x="21600" y="11074"/>
                  </a:lnTo>
                  <a:cubicBezTo>
                    <a:pt x="15816" y="11074"/>
                    <a:pt x="11127" y="15787"/>
                    <a:pt x="11127" y="21600"/>
                  </a:cubicBezTo>
                  <a:lnTo>
                    <a:pt x="0" y="21599"/>
                  </a:lnTo>
                  <a:close/>
                </a:path>
              </a:pathLst>
            </a:custGeom>
            <a:solidFill>
              <a:srgbClr val="FFFF00">
                <a:alpha val="36862"/>
              </a:srgbClr>
            </a:solidFill>
            <a:ln w="12700" cap="flat">
              <a:solidFill>
                <a:srgbClr val="A6A6A6"/>
              </a:solidFill>
              <a:prstDash val="solid"/>
              <a:bevel/>
              <a:headEnd/>
              <a:tailEnd/>
            </a:ln>
          </p:spPr>
          <p:txBody>
            <a:bodyPr lIns="0" tIns="0" rIns="0" bIns="0" anchor="ctr"/>
            <a:lstStyle/>
            <a:p>
              <a:endParaRPr lang="en-US"/>
            </a:p>
          </p:txBody>
        </p:sp>
        <p:sp>
          <p:nvSpPr>
            <p:cNvPr id="52280" name="Shape 252"/>
            <p:cNvSpPr>
              <a:spLocks/>
            </p:cNvSpPr>
            <p:nvPr/>
          </p:nvSpPr>
          <p:spPr bwMode="auto">
            <a:xfrm rot="-8196328">
              <a:off x="2067072" y="1475734"/>
              <a:ext cx="1833656" cy="3022532"/>
            </a:xfrm>
            <a:custGeom>
              <a:avLst/>
              <a:gdLst>
                <a:gd name="T0" fmla="*/ 2147483647 w 19498"/>
                <a:gd name="T1" fmla="*/ 2147483647 h 21543"/>
                <a:gd name="T2" fmla="*/ 2147483647 w 19498"/>
                <a:gd name="T3" fmla="*/ 2147483647 h 21543"/>
                <a:gd name="T4" fmla="*/ 2147483647 w 19498"/>
                <a:gd name="T5" fmla="*/ 2147483647 h 21543"/>
                <a:gd name="T6" fmla="*/ 2147483647 w 19498"/>
                <a:gd name="T7" fmla="*/ 2147483647 h 21543"/>
                <a:gd name="T8" fmla="*/ 0 60000 65536"/>
                <a:gd name="T9" fmla="*/ 5898240 60000 65536"/>
                <a:gd name="T10" fmla="*/ 11796480 60000 65536"/>
                <a:gd name="T11" fmla="*/ 1769472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498" h="21543" extrusionOk="0">
                  <a:moveTo>
                    <a:pt x="5063" y="21543"/>
                  </a:moveTo>
                  <a:lnTo>
                    <a:pt x="5063" y="21543"/>
                  </a:lnTo>
                  <a:cubicBezTo>
                    <a:pt x="-2102" y="16324"/>
                    <a:pt x="-1601" y="8199"/>
                    <a:pt x="6182" y="3395"/>
                  </a:cubicBezTo>
                  <a:cubicBezTo>
                    <a:pt x="9805" y="1158"/>
                    <a:pt x="14574" y="-57"/>
                    <a:pt x="19498" y="2"/>
                  </a:cubicBezTo>
                  <a:lnTo>
                    <a:pt x="19323" y="6542"/>
                  </a:lnTo>
                  <a:cubicBezTo>
                    <a:pt x="14135" y="6480"/>
                    <a:pt x="9853" y="9251"/>
                    <a:pt x="9760" y="12731"/>
                  </a:cubicBezTo>
                  <a:cubicBezTo>
                    <a:pt x="9717" y="14351"/>
                    <a:pt x="10605" y="15920"/>
                    <a:pt x="12241" y="17112"/>
                  </a:cubicBezTo>
                  <a:lnTo>
                    <a:pt x="5063" y="21543"/>
                  </a:lnTo>
                  <a:close/>
                </a:path>
              </a:pathLst>
            </a:custGeom>
            <a:solidFill>
              <a:srgbClr val="002060">
                <a:alpha val="36078"/>
              </a:srgbClr>
            </a:solidFill>
            <a:ln w="12700" cap="flat">
              <a:solidFill>
                <a:srgbClr val="A6A6A6"/>
              </a:solidFill>
              <a:prstDash val="solid"/>
              <a:bevel/>
              <a:headEnd/>
              <a:tailEnd/>
            </a:ln>
          </p:spPr>
          <p:txBody>
            <a:bodyPr lIns="0" tIns="0" rIns="0" bIns="0" anchor="ctr"/>
            <a:lstStyle/>
            <a:p>
              <a:endParaRPr lang="en-US"/>
            </a:p>
          </p:txBody>
        </p:sp>
        <p:sp>
          <p:nvSpPr>
            <p:cNvPr id="52281" name="Shape 253"/>
            <p:cNvSpPr>
              <a:spLocks/>
            </p:cNvSpPr>
            <p:nvPr/>
          </p:nvSpPr>
          <p:spPr bwMode="auto">
            <a:xfrm rot="-2700000">
              <a:off x="186461" y="824056"/>
              <a:ext cx="3077202" cy="1802012"/>
            </a:xfrm>
            <a:custGeom>
              <a:avLst/>
              <a:gdLst>
                <a:gd name="T0" fmla="*/ 2147483647 w 21600"/>
                <a:gd name="T1" fmla="*/ 2147483647 h 21600"/>
                <a:gd name="T2" fmla="*/ 2147483647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2147483647 h 21600"/>
                <a:gd name="T8" fmla="*/ 0 60000 65536"/>
                <a:gd name="T9" fmla="*/ 5898240 60000 65536"/>
                <a:gd name="T10" fmla="*/ 11796480 60000 65536"/>
                <a:gd name="T11" fmla="*/ 1769472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 extrusionOk="0">
                  <a:moveTo>
                    <a:pt x="0" y="21600"/>
                  </a:moveTo>
                  <a:cubicBezTo>
                    <a:pt x="0" y="9671"/>
                    <a:pt x="5661" y="0"/>
                    <a:pt x="12645" y="0"/>
                  </a:cubicBezTo>
                  <a:cubicBezTo>
                    <a:pt x="16005" y="0"/>
                    <a:pt x="19228" y="2285"/>
                    <a:pt x="21600" y="6350"/>
                  </a:cubicBezTo>
                  <a:lnTo>
                    <a:pt x="17059" y="14083"/>
                  </a:lnTo>
                  <a:cubicBezTo>
                    <a:pt x="14630" y="9917"/>
                    <a:pt x="10684" y="9906"/>
                    <a:pt x="8246" y="14057"/>
                  </a:cubicBezTo>
                  <a:cubicBezTo>
                    <a:pt x="7072" y="16055"/>
                    <a:pt x="6413" y="18769"/>
                    <a:pt x="6413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FF99FF">
                <a:alpha val="47058"/>
              </a:srgbClr>
            </a:solidFill>
            <a:ln w="12700" cap="flat">
              <a:solidFill>
                <a:srgbClr val="A6A6A6"/>
              </a:solidFill>
              <a:prstDash val="solid"/>
              <a:bevel/>
              <a:headEnd/>
              <a:tailEnd/>
            </a:ln>
          </p:spPr>
          <p:txBody>
            <a:bodyPr lIns="0" tIns="0" rIns="0" bIns="0" anchor="ctr"/>
            <a:lstStyle/>
            <a:p>
              <a:endParaRPr lang="en-US"/>
            </a:p>
          </p:txBody>
        </p:sp>
      </p:grpSp>
      <p:sp>
        <p:nvSpPr>
          <p:cNvPr id="52234" name="Shape 255"/>
          <p:cNvSpPr>
            <a:spLocks/>
          </p:cNvSpPr>
          <p:nvPr/>
        </p:nvSpPr>
        <p:spPr bwMode="auto">
          <a:xfrm rot="-2700000">
            <a:off x="5415280" y="3294381"/>
            <a:ext cx="2448560" cy="1430019"/>
          </a:xfrm>
          <a:custGeom>
            <a:avLst/>
            <a:gdLst>
              <a:gd name="T0" fmla="*/ 2147483647 w 21600"/>
              <a:gd name="T1" fmla="*/ 764949752 h 21600"/>
              <a:gd name="T2" fmla="*/ 2147483647 w 21600"/>
              <a:gd name="T3" fmla="*/ 764949752 h 21600"/>
              <a:gd name="T4" fmla="*/ 2147483647 w 21600"/>
              <a:gd name="T5" fmla="*/ 764949752 h 21600"/>
              <a:gd name="T6" fmla="*/ 2147483647 w 21600"/>
              <a:gd name="T7" fmla="*/ 764949752 h 21600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cubicBezTo>
                  <a:pt x="0" y="9671"/>
                  <a:pt x="5646" y="0"/>
                  <a:pt x="12611" y="0"/>
                </a:cubicBezTo>
                <a:cubicBezTo>
                  <a:pt x="15991" y="0"/>
                  <a:pt x="19229" y="2324"/>
                  <a:pt x="21600" y="6450"/>
                </a:cubicBezTo>
                <a:lnTo>
                  <a:pt x="18334" y="11954"/>
                </a:lnTo>
                <a:cubicBezTo>
                  <a:pt x="15223" y="6542"/>
                  <a:pt x="10138" y="6474"/>
                  <a:pt x="6977" y="11802"/>
                </a:cubicBezTo>
                <a:cubicBezTo>
                  <a:pt x="5444" y="14386"/>
                  <a:pt x="4580" y="17916"/>
                  <a:pt x="4580" y="21600"/>
                </a:cubicBezTo>
                <a:lnTo>
                  <a:pt x="0" y="21600"/>
                </a:lnTo>
                <a:close/>
              </a:path>
            </a:pathLst>
          </a:custGeom>
          <a:solidFill>
            <a:srgbClr val="CC3300"/>
          </a:solidFill>
          <a:ln w="9525">
            <a:solidFill>
              <a:srgbClr val="A6A6A6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endParaRPr lang="en-US"/>
          </a:p>
        </p:txBody>
      </p:sp>
      <p:sp>
        <p:nvSpPr>
          <p:cNvPr id="52235" name="Shape 256"/>
          <p:cNvSpPr>
            <a:spLocks/>
          </p:cNvSpPr>
          <p:nvPr/>
        </p:nvSpPr>
        <p:spPr bwMode="auto">
          <a:xfrm rot="5400000">
            <a:off x="7287260" y="2938781"/>
            <a:ext cx="1437640" cy="1432560"/>
          </a:xfrm>
          <a:custGeom>
            <a:avLst/>
            <a:gdLst>
              <a:gd name="T0" fmla="*/ 777817484 w 21600"/>
              <a:gd name="T1" fmla="*/ 768199647 h 21600"/>
              <a:gd name="T2" fmla="*/ 777817484 w 21600"/>
              <a:gd name="T3" fmla="*/ 768199647 h 21600"/>
              <a:gd name="T4" fmla="*/ 777817484 w 21600"/>
              <a:gd name="T5" fmla="*/ 768199647 h 21600"/>
              <a:gd name="T6" fmla="*/ 777817484 w 21600"/>
              <a:gd name="T7" fmla="*/ 768199647 h 21600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cubicBezTo>
                  <a:pt x="0" y="9670"/>
                  <a:pt x="9619" y="0"/>
                  <a:pt x="21484" y="0"/>
                </a:cubicBezTo>
                <a:lnTo>
                  <a:pt x="21600" y="7842"/>
                </a:lnTo>
                <a:cubicBezTo>
                  <a:pt x="14042" y="7842"/>
                  <a:pt x="7915" y="14001"/>
                  <a:pt x="7915" y="21600"/>
                </a:cubicBezTo>
                <a:lnTo>
                  <a:pt x="0" y="21600"/>
                </a:lnTo>
                <a:close/>
              </a:path>
            </a:pathLst>
          </a:custGeom>
          <a:solidFill>
            <a:srgbClr val="FFCC00"/>
          </a:solidFill>
          <a:ln w="9525">
            <a:solidFill>
              <a:srgbClr val="A6A6A6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endParaRPr lang="en-US"/>
          </a:p>
        </p:txBody>
      </p:sp>
      <p:sp>
        <p:nvSpPr>
          <p:cNvPr id="52236" name="Shape 257"/>
          <p:cNvSpPr>
            <a:spLocks/>
          </p:cNvSpPr>
          <p:nvPr/>
        </p:nvSpPr>
        <p:spPr bwMode="auto">
          <a:xfrm rot="-8196328">
            <a:off x="6898640" y="3797301"/>
            <a:ext cx="1473200" cy="2407920"/>
          </a:xfrm>
          <a:custGeom>
            <a:avLst/>
            <a:gdLst>
              <a:gd name="T0" fmla="*/ 1019225269 w 19569"/>
              <a:gd name="T1" fmla="*/ 2147483647 h 21505"/>
              <a:gd name="T2" fmla="*/ 1019225269 w 19569"/>
              <a:gd name="T3" fmla="*/ 2147483647 h 21505"/>
              <a:gd name="T4" fmla="*/ 1019225269 w 19569"/>
              <a:gd name="T5" fmla="*/ 2147483647 h 21505"/>
              <a:gd name="T6" fmla="*/ 1019225269 w 19569"/>
              <a:gd name="T7" fmla="*/ 2147483647 h 21505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9569" h="21505" extrusionOk="0">
                <a:moveTo>
                  <a:pt x="5158" y="21505"/>
                </a:moveTo>
                <a:lnTo>
                  <a:pt x="5158" y="21505"/>
                </a:lnTo>
                <a:cubicBezTo>
                  <a:pt x="-2031" y="16370"/>
                  <a:pt x="-1661" y="8293"/>
                  <a:pt x="5986" y="3464"/>
                </a:cubicBezTo>
                <a:cubicBezTo>
                  <a:pt x="9653" y="1149"/>
                  <a:pt x="14538" y="-95"/>
                  <a:pt x="19569" y="6"/>
                </a:cubicBezTo>
                <a:lnTo>
                  <a:pt x="19365" y="4618"/>
                </a:lnTo>
                <a:cubicBezTo>
                  <a:pt x="12664" y="4484"/>
                  <a:pt x="7071" y="8022"/>
                  <a:pt x="6871" y="12520"/>
                </a:cubicBezTo>
                <a:cubicBezTo>
                  <a:pt x="6776" y="14678"/>
                  <a:pt x="7959" y="16773"/>
                  <a:pt x="10162" y="18345"/>
                </a:cubicBezTo>
                <a:lnTo>
                  <a:pt x="5158" y="21505"/>
                </a:lnTo>
                <a:close/>
              </a:path>
            </a:pathLst>
          </a:custGeom>
          <a:solidFill>
            <a:srgbClr val="0070C0"/>
          </a:solidFill>
          <a:ln w="9525">
            <a:solidFill>
              <a:srgbClr val="A6A6A6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endParaRPr lang="en-US"/>
          </a:p>
        </p:txBody>
      </p:sp>
      <p:sp>
        <p:nvSpPr>
          <p:cNvPr id="258" name="Shape 258"/>
          <p:cNvSpPr/>
          <p:nvPr/>
        </p:nvSpPr>
        <p:spPr>
          <a:xfrm>
            <a:off x="6393181" y="2101631"/>
            <a:ext cx="873760" cy="307777"/>
          </a:xfrm>
          <a:prstGeom prst="rect">
            <a:avLst/>
          </a:prstGeom>
          <a:ln w="12700">
            <a:miter lim="400000"/>
          </a:ln>
          <a:extLst/>
        </p:spPr>
        <p:txBody>
          <a:bodyPr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 sz="1800"/>
            </a:pPr>
            <a:r>
              <a:rPr sz="1000" kern="0">
                <a:latin typeface="Arial"/>
                <a:ea typeface="Arial"/>
                <a:cs typeface="Arial"/>
                <a:sym typeface="Arial"/>
              </a:rPr>
              <a:t>Food</a:t>
            </a:r>
            <a:endParaRPr sz="2900" kern="0">
              <a:latin typeface="+mj-lt"/>
              <a:ea typeface="+mj-ea"/>
              <a:cs typeface="+mj-cs"/>
              <a:sym typeface="Helvetica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 sz="1800"/>
            </a:pPr>
            <a:r>
              <a:rPr sz="1000" kern="0">
                <a:latin typeface="Arial"/>
                <a:ea typeface="Arial"/>
                <a:cs typeface="Arial"/>
                <a:sym typeface="Arial"/>
              </a:rPr>
              <a:t>Behavior</a:t>
            </a:r>
          </a:p>
        </p:txBody>
      </p:sp>
      <p:sp>
        <p:nvSpPr>
          <p:cNvPr id="259" name="Shape 259"/>
          <p:cNvSpPr/>
          <p:nvPr/>
        </p:nvSpPr>
        <p:spPr>
          <a:xfrm>
            <a:off x="7241542" y="2101631"/>
            <a:ext cx="967739" cy="307777"/>
          </a:xfrm>
          <a:prstGeom prst="rect">
            <a:avLst/>
          </a:prstGeom>
          <a:ln w="12700">
            <a:miter lim="400000"/>
          </a:ln>
          <a:extLst/>
        </p:spPr>
        <p:txBody>
          <a:bodyPr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 sz="1800"/>
            </a:pPr>
            <a:r>
              <a:rPr sz="1000" kern="0">
                <a:latin typeface="Arial"/>
                <a:ea typeface="Arial"/>
                <a:cs typeface="Arial"/>
                <a:sym typeface="Arial"/>
              </a:rPr>
              <a:t>Community</a:t>
            </a:r>
            <a:endParaRPr sz="2900" kern="0">
              <a:latin typeface="+mj-lt"/>
              <a:ea typeface="+mj-ea"/>
              <a:cs typeface="+mj-cs"/>
              <a:sym typeface="Helvetica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 sz="1800"/>
            </a:pPr>
            <a:r>
              <a:rPr sz="1000" kern="0">
                <a:latin typeface="Arial"/>
                <a:ea typeface="Arial"/>
                <a:cs typeface="Arial"/>
                <a:sym typeface="Arial"/>
              </a:rPr>
              <a:t>Conscious</a:t>
            </a:r>
          </a:p>
        </p:txBody>
      </p:sp>
      <p:sp>
        <p:nvSpPr>
          <p:cNvPr id="260" name="Shape 260"/>
          <p:cNvSpPr/>
          <p:nvPr/>
        </p:nvSpPr>
        <p:spPr>
          <a:xfrm>
            <a:off x="5628640" y="2426751"/>
            <a:ext cx="906781" cy="307777"/>
          </a:xfrm>
          <a:prstGeom prst="rect">
            <a:avLst/>
          </a:prstGeom>
          <a:ln w="12700">
            <a:miter lim="400000"/>
          </a:ln>
          <a:extLst/>
        </p:spPr>
        <p:txBody>
          <a:bodyPr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 sz="1800"/>
            </a:pPr>
            <a:r>
              <a:rPr sz="1000" kern="0">
                <a:latin typeface="Arial"/>
                <a:ea typeface="Arial"/>
                <a:cs typeface="Arial"/>
                <a:sym typeface="Arial"/>
              </a:rPr>
              <a:t>Beverage</a:t>
            </a:r>
            <a:endParaRPr sz="2900" kern="0">
              <a:latin typeface="+mj-lt"/>
              <a:ea typeface="+mj-ea"/>
              <a:cs typeface="+mj-cs"/>
              <a:sym typeface="Helvetica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 sz="1800"/>
            </a:pPr>
            <a:r>
              <a:rPr sz="1000" kern="0">
                <a:latin typeface="Arial"/>
                <a:ea typeface="Arial"/>
                <a:cs typeface="Arial"/>
                <a:sym typeface="Arial"/>
              </a:rPr>
              <a:t>Behavior</a:t>
            </a:r>
          </a:p>
        </p:txBody>
      </p:sp>
      <p:sp>
        <p:nvSpPr>
          <p:cNvPr id="261" name="Shape 261"/>
          <p:cNvSpPr/>
          <p:nvPr/>
        </p:nvSpPr>
        <p:spPr>
          <a:xfrm>
            <a:off x="4874261" y="3023652"/>
            <a:ext cx="1087120" cy="307777"/>
          </a:xfrm>
          <a:prstGeom prst="rect">
            <a:avLst/>
          </a:prstGeom>
          <a:ln w="12700">
            <a:miter lim="400000"/>
          </a:ln>
          <a:extLst/>
        </p:spPr>
        <p:txBody>
          <a:bodyPr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 sz="1800"/>
            </a:pPr>
            <a:r>
              <a:rPr sz="1000" kern="0">
                <a:latin typeface="Arial"/>
                <a:ea typeface="Arial"/>
                <a:cs typeface="Arial"/>
                <a:sym typeface="Arial"/>
              </a:rPr>
              <a:t>Message</a:t>
            </a:r>
            <a:endParaRPr sz="2900" kern="0">
              <a:latin typeface="+mj-lt"/>
              <a:ea typeface="+mj-ea"/>
              <a:cs typeface="+mj-cs"/>
              <a:sym typeface="Helvetica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 sz="1800"/>
            </a:pPr>
            <a:r>
              <a:rPr sz="1000" kern="0">
                <a:latin typeface="Arial"/>
                <a:ea typeface="Arial"/>
                <a:cs typeface="Arial"/>
                <a:sym typeface="Arial"/>
              </a:rPr>
              <a:t>Relevance</a:t>
            </a:r>
          </a:p>
        </p:txBody>
      </p:sp>
      <p:sp>
        <p:nvSpPr>
          <p:cNvPr id="262" name="Shape 262"/>
          <p:cNvSpPr/>
          <p:nvPr/>
        </p:nvSpPr>
        <p:spPr>
          <a:xfrm>
            <a:off x="4650742" y="3800892"/>
            <a:ext cx="909320" cy="307777"/>
          </a:xfrm>
          <a:prstGeom prst="rect">
            <a:avLst/>
          </a:prstGeom>
          <a:ln w="12700">
            <a:miter lim="400000"/>
          </a:ln>
          <a:extLst/>
        </p:spPr>
        <p:txBody>
          <a:bodyPr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 sz="1800"/>
            </a:pPr>
            <a:r>
              <a:rPr sz="1000" kern="0">
                <a:latin typeface="Arial"/>
                <a:ea typeface="Arial"/>
                <a:cs typeface="Arial"/>
                <a:sym typeface="Arial"/>
              </a:rPr>
              <a:t>Rewards</a:t>
            </a:r>
            <a:endParaRPr sz="2900" kern="0">
              <a:latin typeface="+mj-lt"/>
              <a:ea typeface="+mj-ea"/>
              <a:cs typeface="+mj-cs"/>
              <a:sym typeface="Helvetica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 sz="1800"/>
            </a:pPr>
            <a:r>
              <a:rPr sz="1000" kern="0">
                <a:latin typeface="Arial"/>
                <a:ea typeface="Arial"/>
                <a:cs typeface="Arial"/>
                <a:sym typeface="Arial"/>
              </a:rPr>
              <a:t>Program</a:t>
            </a:r>
          </a:p>
        </p:txBody>
      </p:sp>
      <p:sp>
        <p:nvSpPr>
          <p:cNvPr id="263" name="Shape 263"/>
          <p:cNvSpPr/>
          <p:nvPr/>
        </p:nvSpPr>
        <p:spPr>
          <a:xfrm>
            <a:off x="4592320" y="4583212"/>
            <a:ext cx="1028701" cy="307777"/>
          </a:xfrm>
          <a:prstGeom prst="rect">
            <a:avLst/>
          </a:prstGeom>
          <a:ln w="12700">
            <a:miter lim="400000"/>
          </a:ln>
          <a:extLst/>
        </p:spPr>
        <p:txBody>
          <a:bodyPr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 sz="1800"/>
            </a:pPr>
            <a:r>
              <a:rPr sz="1000" kern="0">
                <a:latin typeface="Arial"/>
                <a:ea typeface="Arial"/>
                <a:cs typeface="Arial"/>
                <a:sym typeface="Arial"/>
              </a:rPr>
              <a:t>In-Store</a:t>
            </a:r>
            <a:endParaRPr sz="2900" kern="0">
              <a:latin typeface="+mj-lt"/>
              <a:ea typeface="+mj-ea"/>
              <a:cs typeface="+mj-cs"/>
              <a:sym typeface="Helvetica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 sz="1800"/>
            </a:pPr>
            <a:r>
              <a:rPr sz="1000" kern="0">
                <a:latin typeface="Arial"/>
                <a:ea typeface="Arial"/>
                <a:cs typeface="Arial"/>
                <a:sym typeface="Arial"/>
              </a:rPr>
              <a:t>Experience</a:t>
            </a:r>
          </a:p>
        </p:txBody>
      </p:sp>
      <p:sp>
        <p:nvSpPr>
          <p:cNvPr id="264" name="Shape 264"/>
          <p:cNvSpPr/>
          <p:nvPr/>
        </p:nvSpPr>
        <p:spPr>
          <a:xfrm>
            <a:off x="4983480" y="5398551"/>
            <a:ext cx="906781" cy="307777"/>
          </a:xfrm>
          <a:prstGeom prst="rect">
            <a:avLst/>
          </a:prstGeom>
          <a:ln w="12700">
            <a:miter lim="400000"/>
          </a:ln>
          <a:extLst/>
        </p:spPr>
        <p:txBody>
          <a:bodyPr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 sz="1800"/>
            </a:pPr>
            <a:r>
              <a:rPr sz="1000" kern="0">
                <a:latin typeface="Arial"/>
                <a:ea typeface="Arial"/>
                <a:cs typeface="Arial"/>
                <a:sym typeface="Arial"/>
              </a:rPr>
              <a:t>Employee</a:t>
            </a:r>
            <a:endParaRPr sz="2900" kern="0">
              <a:latin typeface="+mj-lt"/>
              <a:ea typeface="+mj-ea"/>
              <a:cs typeface="+mj-cs"/>
              <a:sym typeface="Helvetica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 sz="1800"/>
            </a:pPr>
            <a:r>
              <a:rPr sz="1000" kern="0">
                <a:latin typeface="Arial"/>
                <a:ea typeface="Arial"/>
                <a:cs typeface="Arial"/>
                <a:sym typeface="Arial"/>
              </a:rPr>
              <a:t>Influence</a:t>
            </a:r>
          </a:p>
        </p:txBody>
      </p:sp>
      <p:sp>
        <p:nvSpPr>
          <p:cNvPr id="52244" name="Shape 265"/>
          <p:cNvSpPr>
            <a:spLocks noChangeArrowheads="1"/>
          </p:cNvSpPr>
          <p:nvPr/>
        </p:nvSpPr>
        <p:spPr bwMode="auto">
          <a:xfrm>
            <a:off x="5461001" y="6115576"/>
            <a:ext cx="1074421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en-US" sz="1000">
                <a:latin typeface="Arial" charset="0"/>
                <a:cs typeface="Arial" charset="0"/>
                <a:sym typeface="Arial" charset="0"/>
              </a:rPr>
              <a:t>My Finances</a:t>
            </a:r>
          </a:p>
        </p:txBody>
      </p:sp>
      <p:sp>
        <p:nvSpPr>
          <p:cNvPr id="52245" name="Shape 266"/>
          <p:cNvSpPr>
            <a:spLocks noChangeArrowheads="1"/>
          </p:cNvSpPr>
          <p:nvPr/>
        </p:nvSpPr>
        <p:spPr bwMode="auto">
          <a:xfrm>
            <a:off x="6268721" y="6466096"/>
            <a:ext cx="1074421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en-US" sz="1000">
                <a:latin typeface="Arial" charset="0"/>
                <a:cs typeface="Arial" charset="0"/>
                <a:sym typeface="Arial" charset="0"/>
              </a:rPr>
              <a:t>My Occupation</a:t>
            </a:r>
          </a:p>
        </p:txBody>
      </p:sp>
      <p:sp>
        <p:nvSpPr>
          <p:cNvPr id="267" name="Shape 267"/>
          <p:cNvSpPr/>
          <p:nvPr/>
        </p:nvSpPr>
        <p:spPr>
          <a:xfrm>
            <a:off x="7160262" y="6478052"/>
            <a:ext cx="1264920" cy="307777"/>
          </a:xfrm>
          <a:prstGeom prst="rect">
            <a:avLst/>
          </a:prstGeom>
          <a:ln w="12700">
            <a:miter lim="400000"/>
          </a:ln>
          <a:extLst/>
        </p:spPr>
        <p:txBody>
          <a:bodyPr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 sz="1800"/>
            </a:pPr>
            <a:r>
              <a:rPr sz="1000" kern="0">
                <a:latin typeface="Arial"/>
                <a:ea typeface="Arial"/>
                <a:cs typeface="Arial"/>
                <a:sym typeface="Arial"/>
              </a:rPr>
              <a:t>My Lifestyle/</a:t>
            </a:r>
            <a:endParaRPr sz="2900" kern="0">
              <a:latin typeface="+mj-lt"/>
              <a:ea typeface="+mj-ea"/>
              <a:cs typeface="+mj-cs"/>
              <a:sym typeface="Helvetica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 sz="1800"/>
            </a:pPr>
            <a:r>
              <a:rPr sz="1000" kern="0">
                <a:latin typeface="Arial"/>
                <a:ea typeface="Arial"/>
                <a:cs typeface="Arial"/>
                <a:sym typeface="Arial"/>
              </a:rPr>
              <a:t>Demographics</a:t>
            </a:r>
          </a:p>
        </p:txBody>
      </p:sp>
      <p:sp>
        <p:nvSpPr>
          <p:cNvPr id="52247" name="Shape 268"/>
          <p:cNvSpPr>
            <a:spLocks noChangeArrowheads="1"/>
          </p:cNvSpPr>
          <p:nvPr/>
        </p:nvSpPr>
        <p:spPr bwMode="auto">
          <a:xfrm>
            <a:off x="8046720" y="6161296"/>
            <a:ext cx="1120141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en-US" sz="1000">
                <a:latin typeface="Arial" charset="0"/>
                <a:cs typeface="Arial" charset="0"/>
                <a:sym typeface="Arial" charset="0"/>
              </a:rPr>
              <a:t>My Need State</a:t>
            </a:r>
          </a:p>
        </p:txBody>
      </p:sp>
      <p:sp>
        <p:nvSpPr>
          <p:cNvPr id="52248" name="Shape 269"/>
          <p:cNvSpPr>
            <a:spLocks noChangeArrowheads="1"/>
          </p:cNvSpPr>
          <p:nvPr/>
        </p:nvSpPr>
        <p:spPr bwMode="auto">
          <a:xfrm>
            <a:off x="8572502" y="5467877"/>
            <a:ext cx="1120139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en-US" sz="1000">
                <a:latin typeface="Arial" charset="0"/>
                <a:cs typeface="Arial" charset="0"/>
                <a:sym typeface="Arial" charset="0"/>
              </a:rPr>
              <a:t>My Day Part</a:t>
            </a:r>
          </a:p>
        </p:txBody>
      </p:sp>
      <p:sp>
        <p:nvSpPr>
          <p:cNvPr id="52249" name="Shape 270"/>
          <p:cNvSpPr>
            <a:spLocks noChangeArrowheads="1"/>
          </p:cNvSpPr>
          <p:nvPr/>
        </p:nvSpPr>
        <p:spPr bwMode="auto">
          <a:xfrm>
            <a:off x="8719822" y="4578132"/>
            <a:ext cx="145796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en-US" sz="1000">
                <a:latin typeface="Arial" charset="0"/>
                <a:cs typeface="Arial" charset="0"/>
                <a:sym typeface="Arial" charset="0"/>
              </a:rPr>
              <a:t>My Media Channel Preferences</a:t>
            </a:r>
          </a:p>
        </p:txBody>
      </p:sp>
      <p:sp>
        <p:nvSpPr>
          <p:cNvPr id="52250" name="Shape 271"/>
          <p:cNvSpPr>
            <a:spLocks noChangeArrowheads="1"/>
          </p:cNvSpPr>
          <p:nvPr/>
        </p:nvSpPr>
        <p:spPr bwMode="auto">
          <a:xfrm>
            <a:off x="8704582" y="3882917"/>
            <a:ext cx="145796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en-US" sz="1000">
                <a:latin typeface="Arial" charset="0"/>
                <a:cs typeface="Arial" charset="0"/>
                <a:sym typeface="Arial" charset="0"/>
              </a:rPr>
              <a:t>Weather</a:t>
            </a:r>
          </a:p>
        </p:txBody>
      </p:sp>
      <p:sp>
        <p:nvSpPr>
          <p:cNvPr id="52251" name="Shape 272"/>
          <p:cNvSpPr>
            <a:spLocks noChangeArrowheads="1"/>
          </p:cNvSpPr>
          <p:nvPr/>
        </p:nvSpPr>
        <p:spPr bwMode="auto">
          <a:xfrm>
            <a:off x="8354062" y="3105677"/>
            <a:ext cx="145796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en-US" sz="1000">
                <a:latin typeface="Arial" charset="0"/>
                <a:cs typeface="Arial" charset="0"/>
                <a:sym typeface="Arial" charset="0"/>
              </a:rPr>
              <a:t>Competitors</a:t>
            </a:r>
          </a:p>
        </p:txBody>
      </p:sp>
      <p:sp>
        <p:nvSpPr>
          <p:cNvPr id="273" name="Shape 273"/>
          <p:cNvSpPr/>
          <p:nvPr/>
        </p:nvSpPr>
        <p:spPr>
          <a:xfrm>
            <a:off x="7759702" y="2449612"/>
            <a:ext cx="1457960" cy="307777"/>
          </a:xfrm>
          <a:prstGeom prst="rect">
            <a:avLst/>
          </a:prstGeom>
          <a:ln w="12700">
            <a:miter lim="400000"/>
          </a:ln>
          <a:extLst/>
        </p:spPr>
        <p:txBody>
          <a:bodyPr lIns="0" tIns="0" rIns="0" bIns="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 sz="1800"/>
            </a:pPr>
            <a:r>
              <a:rPr sz="1000" kern="0" dirty="0">
                <a:latin typeface="Arial"/>
                <a:ea typeface="Arial"/>
                <a:cs typeface="Arial"/>
                <a:sym typeface="Arial"/>
              </a:rPr>
              <a:t>Event</a:t>
            </a:r>
            <a:endParaRPr sz="2900" kern="0" dirty="0">
              <a:latin typeface="+mj-lt"/>
              <a:ea typeface="+mj-ea"/>
              <a:cs typeface="+mj-cs"/>
              <a:sym typeface="Helvetica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 sz="1800"/>
            </a:pPr>
            <a:r>
              <a:rPr sz="1000" kern="0" dirty="0">
                <a:latin typeface="Arial"/>
                <a:ea typeface="Arial"/>
                <a:cs typeface="Arial"/>
                <a:sym typeface="Arial"/>
              </a:rPr>
              <a:t>Drivers</a:t>
            </a:r>
          </a:p>
        </p:txBody>
      </p:sp>
      <p:sp>
        <p:nvSpPr>
          <p:cNvPr id="274" name="Shape 274"/>
          <p:cNvSpPr/>
          <p:nvPr/>
        </p:nvSpPr>
        <p:spPr>
          <a:xfrm>
            <a:off x="6217921" y="1737360"/>
            <a:ext cx="525781" cy="1292861"/>
          </a:xfrm>
          <a:prstGeom prst="line">
            <a:avLst/>
          </a:prstGeom>
          <a:ln>
            <a:solidFill>
              <a:srgbClr val="BFBFBF"/>
            </a:solidFill>
            <a:prstDash val="dash"/>
            <a:round/>
          </a:ln>
        </p:spPr>
        <p:txBody>
          <a:bodyPr lIns="0" tIns="0" rIns="0" bIns="0"/>
          <a:lstStyle/>
          <a:p>
            <a:pPr defTabSz="731520" fontAlgn="auto">
              <a:spcBef>
                <a:spcPts val="0"/>
              </a:spcBef>
              <a:spcAft>
                <a:spcPts val="0"/>
              </a:spcAft>
              <a:defRPr sz="1200">
                <a:latin typeface="+mj-lt"/>
                <a:ea typeface="+mj-ea"/>
                <a:cs typeface="+mj-cs"/>
                <a:sym typeface="Helvetica"/>
              </a:defRPr>
            </a:pPr>
            <a:endParaRPr sz="1900" kern="0">
              <a:solidFill>
                <a:sysClr val="windowText" lastClr="000000"/>
              </a:solidFill>
              <a:latin typeface="+mj-lt"/>
              <a:ea typeface="+mj-ea"/>
              <a:cs typeface="+mj-cs"/>
              <a:sym typeface="Helvetica"/>
            </a:endParaRPr>
          </a:p>
        </p:txBody>
      </p:sp>
      <p:sp>
        <p:nvSpPr>
          <p:cNvPr id="275" name="Shape 275"/>
          <p:cNvSpPr/>
          <p:nvPr/>
        </p:nvSpPr>
        <p:spPr>
          <a:xfrm>
            <a:off x="5260342" y="2339341"/>
            <a:ext cx="1021080" cy="1003299"/>
          </a:xfrm>
          <a:prstGeom prst="line">
            <a:avLst/>
          </a:prstGeom>
          <a:ln>
            <a:solidFill>
              <a:srgbClr val="BFBFBF"/>
            </a:solidFill>
            <a:prstDash val="dash"/>
            <a:round/>
          </a:ln>
        </p:spPr>
        <p:txBody>
          <a:bodyPr lIns="0" tIns="0" rIns="0" bIns="0"/>
          <a:lstStyle/>
          <a:p>
            <a:pPr defTabSz="731520" fontAlgn="auto">
              <a:spcBef>
                <a:spcPts val="0"/>
              </a:spcBef>
              <a:spcAft>
                <a:spcPts val="0"/>
              </a:spcAft>
              <a:defRPr sz="1200">
                <a:latin typeface="+mj-lt"/>
                <a:ea typeface="+mj-ea"/>
                <a:cs typeface="+mj-cs"/>
                <a:sym typeface="Helvetica"/>
              </a:defRPr>
            </a:pPr>
            <a:endParaRPr sz="1900" kern="0">
              <a:solidFill>
                <a:sysClr val="windowText" lastClr="000000"/>
              </a:solidFill>
              <a:latin typeface="+mj-lt"/>
              <a:ea typeface="+mj-ea"/>
              <a:cs typeface="+mj-cs"/>
              <a:sym typeface="Helvetica"/>
            </a:endParaRPr>
          </a:p>
        </p:txBody>
      </p:sp>
      <p:sp>
        <p:nvSpPr>
          <p:cNvPr id="276" name="Shape 276"/>
          <p:cNvSpPr/>
          <p:nvPr/>
        </p:nvSpPr>
        <p:spPr>
          <a:xfrm>
            <a:off x="4643121" y="3253741"/>
            <a:ext cx="1318261" cy="558800"/>
          </a:xfrm>
          <a:prstGeom prst="line">
            <a:avLst/>
          </a:prstGeom>
          <a:ln>
            <a:solidFill>
              <a:srgbClr val="BFBFBF"/>
            </a:solidFill>
            <a:prstDash val="dash"/>
            <a:round/>
          </a:ln>
        </p:spPr>
        <p:txBody>
          <a:bodyPr lIns="0" tIns="0" rIns="0" bIns="0"/>
          <a:lstStyle/>
          <a:p>
            <a:pPr defTabSz="731520" fontAlgn="auto">
              <a:spcBef>
                <a:spcPts val="0"/>
              </a:spcBef>
              <a:spcAft>
                <a:spcPts val="0"/>
              </a:spcAft>
              <a:defRPr sz="1200">
                <a:latin typeface="+mj-lt"/>
                <a:ea typeface="+mj-ea"/>
                <a:cs typeface="+mj-cs"/>
                <a:sym typeface="Helvetica"/>
              </a:defRPr>
            </a:pPr>
            <a:endParaRPr sz="1900" kern="0">
              <a:solidFill>
                <a:sysClr val="windowText" lastClr="000000"/>
              </a:solidFill>
              <a:latin typeface="+mj-lt"/>
              <a:ea typeface="+mj-ea"/>
              <a:cs typeface="+mj-cs"/>
              <a:sym typeface="Helvetica"/>
            </a:endParaRPr>
          </a:p>
        </p:txBody>
      </p:sp>
      <p:sp>
        <p:nvSpPr>
          <p:cNvPr id="277" name="Shape 277"/>
          <p:cNvSpPr/>
          <p:nvPr/>
        </p:nvSpPr>
        <p:spPr>
          <a:xfrm flipV="1">
            <a:off x="4409441" y="4343401"/>
            <a:ext cx="1450341" cy="5080"/>
          </a:xfrm>
          <a:prstGeom prst="line">
            <a:avLst/>
          </a:prstGeom>
          <a:ln>
            <a:solidFill>
              <a:srgbClr val="BFBFBF"/>
            </a:solidFill>
            <a:prstDash val="dash"/>
            <a:round/>
          </a:ln>
        </p:spPr>
        <p:txBody>
          <a:bodyPr lIns="0" tIns="0" rIns="0" bIns="0"/>
          <a:lstStyle/>
          <a:p>
            <a:pPr defTabSz="731520" fontAlgn="auto">
              <a:spcBef>
                <a:spcPts val="0"/>
              </a:spcBef>
              <a:spcAft>
                <a:spcPts val="0"/>
              </a:spcAft>
              <a:defRPr sz="1200">
                <a:latin typeface="+mj-lt"/>
                <a:ea typeface="+mj-ea"/>
                <a:cs typeface="+mj-cs"/>
                <a:sym typeface="Helvetica"/>
              </a:defRPr>
            </a:pPr>
            <a:endParaRPr sz="1900" kern="0">
              <a:solidFill>
                <a:sysClr val="windowText" lastClr="000000"/>
              </a:solidFill>
              <a:latin typeface="+mj-lt"/>
              <a:ea typeface="+mj-ea"/>
              <a:cs typeface="+mj-cs"/>
              <a:sym typeface="Helvetica"/>
            </a:endParaRPr>
          </a:p>
        </p:txBody>
      </p:sp>
      <p:sp>
        <p:nvSpPr>
          <p:cNvPr id="278" name="Shape 278"/>
          <p:cNvSpPr/>
          <p:nvPr/>
        </p:nvSpPr>
        <p:spPr>
          <a:xfrm flipH="1">
            <a:off x="7846061" y="1737361"/>
            <a:ext cx="566419" cy="1308101"/>
          </a:xfrm>
          <a:prstGeom prst="line">
            <a:avLst/>
          </a:prstGeom>
          <a:ln>
            <a:solidFill>
              <a:srgbClr val="BFBFBF"/>
            </a:solidFill>
            <a:prstDash val="dash"/>
            <a:round/>
          </a:ln>
        </p:spPr>
        <p:txBody>
          <a:bodyPr lIns="0" tIns="0" rIns="0" bIns="0"/>
          <a:lstStyle/>
          <a:p>
            <a:pPr defTabSz="731520" fontAlgn="auto">
              <a:spcBef>
                <a:spcPts val="0"/>
              </a:spcBef>
              <a:spcAft>
                <a:spcPts val="0"/>
              </a:spcAft>
              <a:defRPr sz="1200">
                <a:latin typeface="+mj-lt"/>
                <a:ea typeface="+mj-ea"/>
                <a:cs typeface="+mj-cs"/>
                <a:sym typeface="Helvetica"/>
              </a:defRPr>
            </a:pPr>
            <a:endParaRPr sz="1900" kern="0">
              <a:solidFill>
                <a:sysClr val="windowText" lastClr="000000"/>
              </a:solidFill>
              <a:latin typeface="+mj-lt"/>
              <a:ea typeface="+mj-ea"/>
              <a:cs typeface="+mj-cs"/>
              <a:sym typeface="Helvetica"/>
            </a:endParaRPr>
          </a:p>
        </p:txBody>
      </p:sp>
      <p:sp>
        <p:nvSpPr>
          <p:cNvPr id="279" name="Shape 279"/>
          <p:cNvSpPr/>
          <p:nvPr/>
        </p:nvSpPr>
        <p:spPr>
          <a:xfrm flipH="1">
            <a:off x="8288021" y="2339341"/>
            <a:ext cx="1026160" cy="1016000"/>
          </a:xfrm>
          <a:prstGeom prst="line">
            <a:avLst/>
          </a:prstGeom>
          <a:ln>
            <a:solidFill>
              <a:srgbClr val="BFBFBF"/>
            </a:solidFill>
            <a:prstDash val="dash"/>
            <a:round/>
          </a:ln>
        </p:spPr>
        <p:txBody>
          <a:bodyPr lIns="0" tIns="0" rIns="0" bIns="0"/>
          <a:lstStyle/>
          <a:p>
            <a:pPr defTabSz="731520" fontAlgn="auto">
              <a:spcBef>
                <a:spcPts val="0"/>
              </a:spcBef>
              <a:spcAft>
                <a:spcPts val="0"/>
              </a:spcAft>
              <a:defRPr sz="1200">
                <a:latin typeface="+mj-lt"/>
                <a:ea typeface="+mj-ea"/>
                <a:cs typeface="+mj-cs"/>
                <a:sym typeface="Helvetica"/>
              </a:defRPr>
            </a:pPr>
            <a:endParaRPr sz="1900" kern="0">
              <a:solidFill>
                <a:sysClr val="windowText" lastClr="000000"/>
              </a:solidFill>
              <a:latin typeface="+mj-lt"/>
              <a:ea typeface="+mj-ea"/>
              <a:cs typeface="+mj-cs"/>
              <a:sym typeface="Helvetica"/>
            </a:endParaRPr>
          </a:p>
        </p:txBody>
      </p:sp>
      <p:sp>
        <p:nvSpPr>
          <p:cNvPr id="280" name="Shape 280"/>
          <p:cNvSpPr/>
          <p:nvPr/>
        </p:nvSpPr>
        <p:spPr>
          <a:xfrm flipH="1">
            <a:off x="8608061" y="3253742"/>
            <a:ext cx="1358899" cy="541019"/>
          </a:xfrm>
          <a:prstGeom prst="line">
            <a:avLst/>
          </a:prstGeom>
          <a:ln>
            <a:solidFill>
              <a:srgbClr val="BFBFBF"/>
            </a:solidFill>
            <a:prstDash val="dash"/>
            <a:round/>
          </a:ln>
        </p:spPr>
        <p:txBody>
          <a:bodyPr lIns="0" tIns="0" rIns="0" bIns="0"/>
          <a:lstStyle/>
          <a:p>
            <a:pPr defTabSz="731520" fontAlgn="auto">
              <a:spcBef>
                <a:spcPts val="0"/>
              </a:spcBef>
              <a:spcAft>
                <a:spcPts val="0"/>
              </a:spcAft>
              <a:defRPr sz="1200">
                <a:latin typeface="+mj-lt"/>
                <a:ea typeface="+mj-ea"/>
                <a:cs typeface="+mj-cs"/>
                <a:sym typeface="Helvetica"/>
              </a:defRPr>
            </a:pPr>
            <a:endParaRPr sz="1900" kern="0">
              <a:solidFill>
                <a:sysClr val="windowText" lastClr="000000"/>
              </a:solidFill>
              <a:latin typeface="+mj-lt"/>
              <a:ea typeface="+mj-ea"/>
              <a:cs typeface="+mj-cs"/>
              <a:sym typeface="Helvetica"/>
            </a:endParaRPr>
          </a:p>
        </p:txBody>
      </p:sp>
      <p:sp>
        <p:nvSpPr>
          <p:cNvPr id="281" name="Shape 281"/>
          <p:cNvSpPr/>
          <p:nvPr/>
        </p:nvSpPr>
        <p:spPr>
          <a:xfrm flipH="1" flipV="1">
            <a:off x="8600441" y="4914902"/>
            <a:ext cx="1366520" cy="530859"/>
          </a:xfrm>
          <a:prstGeom prst="line">
            <a:avLst/>
          </a:prstGeom>
          <a:ln>
            <a:solidFill>
              <a:srgbClr val="FFFFFF"/>
            </a:solidFill>
            <a:prstDash val="dash"/>
            <a:round/>
          </a:ln>
        </p:spPr>
        <p:txBody>
          <a:bodyPr lIns="0" tIns="0" rIns="0" bIns="0"/>
          <a:lstStyle/>
          <a:p>
            <a:pPr defTabSz="731520" fontAlgn="auto">
              <a:spcBef>
                <a:spcPts val="0"/>
              </a:spcBef>
              <a:spcAft>
                <a:spcPts val="0"/>
              </a:spcAft>
              <a:defRPr sz="1200">
                <a:latin typeface="+mj-lt"/>
                <a:ea typeface="+mj-ea"/>
                <a:cs typeface="+mj-cs"/>
                <a:sym typeface="Helvetica"/>
              </a:defRPr>
            </a:pPr>
            <a:endParaRPr sz="1900" kern="0">
              <a:solidFill>
                <a:sysClr val="windowText" lastClr="000000"/>
              </a:solidFill>
              <a:latin typeface="+mj-lt"/>
              <a:ea typeface="+mj-ea"/>
              <a:cs typeface="+mj-cs"/>
              <a:sym typeface="Helvetica"/>
            </a:endParaRPr>
          </a:p>
        </p:txBody>
      </p:sp>
      <p:sp>
        <p:nvSpPr>
          <p:cNvPr id="282" name="Shape 282"/>
          <p:cNvSpPr/>
          <p:nvPr/>
        </p:nvSpPr>
        <p:spPr>
          <a:xfrm flipH="1" flipV="1">
            <a:off x="8315961" y="5354320"/>
            <a:ext cx="1010920" cy="1028701"/>
          </a:xfrm>
          <a:prstGeom prst="line">
            <a:avLst/>
          </a:prstGeom>
          <a:ln>
            <a:solidFill>
              <a:srgbClr val="FFFFFF"/>
            </a:solidFill>
            <a:prstDash val="dash"/>
            <a:round/>
          </a:ln>
        </p:spPr>
        <p:txBody>
          <a:bodyPr lIns="0" tIns="0" rIns="0" bIns="0"/>
          <a:lstStyle/>
          <a:p>
            <a:pPr defTabSz="731520" fontAlgn="auto">
              <a:spcBef>
                <a:spcPts val="0"/>
              </a:spcBef>
              <a:spcAft>
                <a:spcPts val="0"/>
              </a:spcAft>
              <a:defRPr sz="1200">
                <a:latin typeface="+mj-lt"/>
                <a:ea typeface="+mj-ea"/>
                <a:cs typeface="+mj-cs"/>
                <a:sym typeface="Helvetica"/>
              </a:defRPr>
            </a:pPr>
            <a:endParaRPr sz="1900" kern="0">
              <a:solidFill>
                <a:sysClr val="windowText" lastClr="000000"/>
              </a:solidFill>
              <a:latin typeface="+mj-lt"/>
              <a:ea typeface="+mj-ea"/>
              <a:cs typeface="+mj-cs"/>
              <a:sym typeface="Helvetica"/>
            </a:endParaRPr>
          </a:p>
        </p:txBody>
      </p:sp>
      <p:sp>
        <p:nvSpPr>
          <p:cNvPr id="283" name="Shape 283"/>
          <p:cNvSpPr/>
          <p:nvPr/>
        </p:nvSpPr>
        <p:spPr>
          <a:xfrm flipH="1" flipV="1">
            <a:off x="7863840" y="5669281"/>
            <a:ext cx="530861" cy="1338581"/>
          </a:xfrm>
          <a:prstGeom prst="line">
            <a:avLst/>
          </a:prstGeom>
          <a:ln>
            <a:solidFill>
              <a:srgbClr val="FFFFFF"/>
            </a:solidFill>
            <a:prstDash val="dash"/>
            <a:round/>
          </a:ln>
        </p:spPr>
        <p:txBody>
          <a:bodyPr lIns="0" tIns="0" rIns="0" bIns="0"/>
          <a:lstStyle/>
          <a:p>
            <a:pPr defTabSz="731520" fontAlgn="auto">
              <a:spcBef>
                <a:spcPts val="0"/>
              </a:spcBef>
              <a:spcAft>
                <a:spcPts val="0"/>
              </a:spcAft>
              <a:defRPr sz="1200">
                <a:latin typeface="+mj-lt"/>
                <a:ea typeface="+mj-ea"/>
                <a:cs typeface="+mj-cs"/>
                <a:sym typeface="Helvetica"/>
              </a:defRPr>
            </a:pPr>
            <a:endParaRPr sz="1900" kern="0">
              <a:solidFill>
                <a:sysClr val="windowText" lastClr="000000"/>
              </a:solidFill>
              <a:latin typeface="+mj-lt"/>
              <a:ea typeface="+mj-ea"/>
              <a:cs typeface="+mj-cs"/>
              <a:sym typeface="Helvetica"/>
            </a:endParaRPr>
          </a:p>
        </p:txBody>
      </p:sp>
      <p:sp>
        <p:nvSpPr>
          <p:cNvPr id="284" name="Shape 284"/>
          <p:cNvSpPr/>
          <p:nvPr/>
        </p:nvSpPr>
        <p:spPr>
          <a:xfrm flipV="1">
            <a:off x="7289800" y="5796280"/>
            <a:ext cx="0" cy="1445261"/>
          </a:xfrm>
          <a:prstGeom prst="line">
            <a:avLst/>
          </a:prstGeom>
          <a:ln>
            <a:solidFill>
              <a:srgbClr val="FFFFFF"/>
            </a:solidFill>
            <a:prstDash val="dash"/>
            <a:round/>
          </a:ln>
        </p:spPr>
        <p:txBody>
          <a:bodyPr lIns="0" tIns="0" rIns="0" bIns="0"/>
          <a:lstStyle/>
          <a:p>
            <a:pPr defTabSz="731520" fontAlgn="auto">
              <a:spcBef>
                <a:spcPts val="0"/>
              </a:spcBef>
              <a:spcAft>
                <a:spcPts val="0"/>
              </a:spcAft>
              <a:defRPr sz="1200">
                <a:latin typeface="+mj-lt"/>
                <a:ea typeface="+mj-ea"/>
                <a:cs typeface="+mj-cs"/>
                <a:sym typeface="Helvetica"/>
              </a:defRPr>
            </a:pPr>
            <a:endParaRPr sz="1900" kern="0">
              <a:solidFill>
                <a:sysClr val="windowText" lastClr="000000"/>
              </a:solidFill>
              <a:latin typeface="+mj-lt"/>
              <a:ea typeface="+mj-ea"/>
              <a:cs typeface="+mj-cs"/>
              <a:sym typeface="Helvetica"/>
            </a:endParaRPr>
          </a:p>
        </p:txBody>
      </p:sp>
      <p:sp>
        <p:nvSpPr>
          <p:cNvPr id="285" name="Shape 285"/>
          <p:cNvSpPr/>
          <p:nvPr/>
        </p:nvSpPr>
        <p:spPr>
          <a:xfrm flipV="1">
            <a:off x="6177281" y="5669281"/>
            <a:ext cx="566421" cy="1338581"/>
          </a:xfrm>
          <a:prstGeom prst="line">
            <a:avLst/>
          </a:prstGeom>
          <a:ln>
            <a:solidFill>
              <a:srgbClr val="FFFFFF"/>
            </a:solidFill>
            <a:prstDash val="dash"/>
            <a:round/>
          </a:ln>
        </p:spPr>
        <p:txBody>
          <a:bodyPr lIns="0" tIns="0" rIns="0" bIns="0"/>
          <a:lstStyle/>
          <a:p>
            <a:pPr defTabSz="731520" fontAlgn="auto">
              <a:spcBef>
                <a:spcPts val="0"/>
              </a:spcBef>
              <a:spcAft>
                <a:spcPts val="0"/>
              </a:spcAft>
              <a:defRPr sz="1200">
                <a:latin typeface="+mj-lt"/>
                <a:ea typeface="+mj-ea"/>
                <a:cs typeface="+mj-cs"/>
                <a:sym typeface="Helvetica"/>
              </a:defRPr>
            </a:pPr>
            <a:endParaRPr sz="1900" kern="0">
              <a:solidFill>
                <a:sysClr val="windowText" lastClr="000000"/>
              </a:solidFill>
              <a:latin typeface="+mj-lt"/>
              <a:ea typeface="+mj-ea"/>
              <a:cs typeface="+mj-cs"/>
              <a:sym typeface="Helvetica"/>
            </a:endParaRPr>
          </a:p>
        </p:txBody>
      </p:sp>
      <p:sp>
        <p:nvSpPr>
          <p:cNvPr id="286" name="Shape 286"/>
          <p:cNvSpPr/>
          <p:nvPr/>
        </p:nvSpPr>
        <p:spPr>
          <a:xfrm flipV="1">
            <a:off x="4643121" y="4902201"/>
            <a:ext cx="1318261" cy="543560"/>
          </a:xfrm>
          <a:prstGeom prst="line">
            <a:avLst/>
          </a:prstGeom>
          <a:ln>
            <a:solidFill>
              <a:srgbClr val="BFBFBF"/>
            </a:solidFill>
            <a:prstDash val="dash"/>
            <a:round/>
          </a:ln>
        </p:spPr>
        <p:txBody>
          <a:bodyPr lIns="0" tIns="0" rIns="0" bIns="0"/>
          <a:lstStyle/>
          <a:p>
            <a:pPr defTabSz="731520" fontAlgn="auto">
              <a:spcBef>
                <a:spcPts val="0"/>
              </a:spcBef>
              <a:spcAft>
                <a:spcPts val="0"/>
              </a:spcAft>
              <a:defRPr sz="1200">
                <a:latin typeface="+mj-lt"/>
                <a:ea typeface="+mj-ea"/>
                <a:cs typeface="+mj-cs"/>
                <a:sym typeface="Helvetica"/>
              </a:defRPr>
            </a:pPr>
            <a:endParaRPr sz="1900" kern="0">
              <a:solidFill>
                <a:sysClr val="windowText" lastClr="000000"/>
              </a:solidFill>
              <a:latin typeface="+mj-lt"/>
              <a:ea typeface="+mj-ea"/>
              <a:cs typeface="+mj-cs"/>
              <a:sym typeface="Helvetica"/>
            </a:endParaRPr>
          </a:p>
        </p:txBody>
      </p:sp>
      <p:sp>
        <p:nvSpPr>
          <p:cNvPr id="52266" name="Shape 287"/>
          <p:cNvSpPr>
            <a:spLocks noChangeArrowheads="1"/>
          </p:cNvSpPr>
          <p:nvPr/>
        </p:nvSpPr>
        <p:spPr bwMode="auto">
          <a:xfrm rot="-2499567">
            <a:off x="5897881" y="3262508"/>
            <a:ext cx="1143000" cy="393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73149" tIns="73149" rIns="73149" bIns="73149">
            <a:spAutoFit/>
          </a:bodyPr>
          <a:lstStyle/>
          <a:p>
            <a:pPr algn="ctr"/>
            <a:r>
              <a:rPr lang="en-US" sz="1600">
                <a:solidFill>
                  <a:srgbClr val="FFFFFF"/>
                </a:solidFill>
                <a:latin typeface="Arial Narrow" charset="0"/>
                <a:sym typeface="Arial Narrow" charset="0"/>
              </a:rPr>
              <a:t>Influence</a:t>
            </a:r>
          </a:p>
        </p:txBody>
      </p:sp>
      <p:sp>
        <p:nvSpPr>
          <p:cNvPr id="52267" name="Shape 288"/>
          <p:cNvSpPr>
            <a:spLocks noChangeArrowheads="1"/>
          </p:cNvSpPr>
          <p:nvPr/>
        </p:nvSpPr>
        <p:spPr bwMode="auto">
          <a:xfrm rot="-5225424">
            <a:off x="5444491" y="4173096"/>
            <a:ext cx="1211581" cy="393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73149" tIns="73149" rIns="73149" bIns="73149">
            <a:spAutoFit/>
          </a:bodyPr>
          <a:lstStyle/>
          <a:p>
            <a:pPr algn="ctr"/>
            <a:r>
              <a:rPr lang="en-US" sz="1600">
                <a:solidFill>
                  <a:srgbClr val="FFFFFF"/>
                </a:solidFill>
                <a:latin typeface="Arial Narrow" charset="0"/>
                <a:sym typeface="Arial Narrow" charset="0"/>
              </a:rPr>
              <a:t>Enterprise</a:t>
            </a:r>
          </a:p>
        </p:txBody>
      </p:sp>
      <p:sp>
        <p:nvSpPr>
          <p:cNvPr id="52268" name="Shape 289"/>
          <p:cNvSpPr>
            <a:spLocks noChangeArrowheads="1"/>
          </p:cNvSpPr>
          <p:nvPr/>
        </p:nvSpPr>
        <p:spPr bwMode="auto">
          <a:xfrm rot="3735507">
            <a:off x="7847332" y="3687957"/>
            <a:ext cx="1140459" cy="393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73149" tIns="73149" rIns="73149" bIns="73149">
            <a:spAutoFit/>
          </a:bodyPr>
          <a:lstStyle/>
          <a:p>
            <a:pPr algn="ctr"/>
            <a:r>
              <a:rPr lang="en-US" sz="1600">
                <a:solidFill>
                  <a:srgbClr val="FFFFFF"/>
                </a:solidFill>
                <a:latin typeface="Arial Narrow" charset="0"/>
                <a:sym typeface="Arial Narrow" charset="0"/>
              </a:rPr>
              <a:t>Influence</a:t>
            </a:r>
          </a:p>
        </p:txBody>
      </p:sp>
      <p:sp>
        <p:nvSpPr>
          <p:cNvPr id="52269" name="Shape 290"/>
          <p:cNvSpPr>
            <a:spLocks noChangeArrowheads="1"/>
          </p:cNvSpPr>
          <p:nvPr/>
        </p:nvSpPr>
        <p:spPr bwMode="auto">
          <a:xfrm rot="1528597">
            <a:off x="7259320" y="3099948"/>
            <a:ext cx="1211581" cy="393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73149" tIns="73149" rIns="73149" bIns="73149">
            <a:spAutoFit/>
          </a:bodyPr>
          <a:lstStyle/>
          <a:p>
            <a:pPr algn="ctr"/>
            <a:r>
              <a:rPr lang="en-US" sz="1600">
                <a:solidFill>
                  <a:srgbClr val="FFFFFF"/>
                </a:solidFill>
                <a:latin typeface="Arial Narrow" charset="0"/>
                <a:sym typeface="Arial Narrow" charset="0"/>
              </a:rPr>
              <a:t>External</a:t>
            </a:r>
          </a:p>
        </p:txBody>
      </p:sp>
      <p:sp>
        <p:nvSpPr>
          <p:cNvPr id="52270" name="Shape 291"/>
          <p:cNvSpPr>
            <a:spLocks noChangeArrowheads="1"/>
          </p:cNvSpPr>
          <p:nvPr/>
        </p:nvSpPr>
        <p:spPr bwMode="auto">
          <a:xfrm rot="767629">
            <a:off x="6446520" y="5239897"/>
            <a:ext cx="1140461" cy="393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73149" tIns="73149" rIns="73149" bIns="73149">
            <a:spAutoFit/>
          </a:bodyPr>
          <a:lstStyle/>
          <a:p>
            <a:pPr algn="ctr"/>
            <a:r>
              <a:rPr lang="en-US" sz="1600">
                <a:solidFill>
                  <a:srgbClr val="FFFFFF"/>
                </a:solidFill>
                <a:latin typeface="Arial Narrow" charset="0"/>
                <a:sym typeface="Arial Narrow" charset="0"/>
              </a:rPr>
              <a:t>Customer</a:t>
            </a:r>
          </a:p>
        </p:txBody>
      </p:sp>
      <p:sp>
        <p:nvSpPr>
          <p:cNvPr id="52271" name="Shape 292"/>
          <p:cNvSpPr>
            <a:spLocks noChangeArrowheads="1"/>
          </p:cNvSpPr>
          <p:nvPr/>
        </p:nvSpPr>
        <p:spPr bwMode="auto">
          <a:xfrm rot="-2894114">
            <a:off x="7301230" y="4855087"/>
            <a:ext cx="1615440" cy="393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73149" tIns="73149" rIns="73149" bIns="73149">
            <a:spAutoFit/>
          </a:bodyPr>
          <a:lstStyle/>
          <a:p>
            <a:pPr algn="ctr"/>
            <a:r>
              <a:rPr lang="en-US" sz="1600">
                <a:solidFill>
                  <a:srgbClr val="FFFFFF"/>
                </a:solidFill>
                <a:latin typeface="Arial Narrow" charset="0"/>
                <a:sym typeface="Arial Narrow" charset="0"/>
              </a:rPr>
              <a:t>Characteristics</a:t>
            </a:r>
          </a:p>
        </p:txBody>
      </p:sp>
      <p:pic>
        <p:nvPicPr>
          <p:cNvPr id="52272" name="image22.png"/>
          <p:cNvPicPr>
            <a:picLocks noChangeAspect="1" noChangeArrowheads="1"/>
          </p:cNvPicPr>
          <p:nvPr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503158" y="1435101"/>
            <a:ext cx="1813560" cy="1798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pic>
        <p:nvPicPr>
          <p:cNvPr id="52273" name="image23.png"/>
          <p:cNvPicPr>
            <a:picLocks noChangeAspect="1" noChangeArrowheads="1"/>
          </p:cNvPicPr>
          <p:nvPr/>
        </p:nvPicPr>
        <p:blipFill>
          <a:blip r:embed="rId4">
            <a:biLevel thresh="25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310118" y="5508896"/>
            <a:ext cx="2199640" cy="1145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pic>
        <p:nvPicPr>
          <p:cNvPr id="52274" name="image24.png"/>
          <p:cNvPicPr>
            <a:picLocks noChangeAspect="1" noChangeArrowheads="1"/>
          </p:cNvPicPr>
          <p:nvPr/>
        </p:nvPicPr>
        <p:blipFill>
          <a:blip r:embed="rId5">
            <a:biLevel thresh="25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67419" y="4782455"/>
            <a:ext cx="1861819" cy="18313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pic>
        <p:nvPicPr>
          <p:cNvPr id="52275" name="image25.png"/>
          <p:cNvPicPr>
            <a:picLocks noChangeAspect="1" noChangeArrowheads="1"/>
          </p:cNvPicPr>
          <p:nvPr/>
        </p:nvPicPr>
        <p:blipFill>
          <a:blip r:embed="rId6">
            <a:biLevel thresh="25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20148" y="1943102"/>
            <a:ext cx="1356360" cy="1275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grpSp>
        <p:nvGrpSpPr>
          <p:cNvPr id="52276" name="Group 299"/>
          <p:cNvGrpSpPr>
            <a:grpSpLocks/>
          </p:cNvGrpSpPr>
          <p:nvPr/>
        </p:nvGrpSpPr>
        <p:grpSpPr bwMode="auto">
          <a:xfrm>
            <a:off x="6388102" y="3459481"/>
            <a:ext cx="1821179" cy="1816101"/>
            <a:chOff x="-14" y="-14"/>
            <a:chExt cx="1137604" cy="1135545"/>
          </a:xfrm>
        </p:grpSpPr>
        <p:sp>
          <p:nvSpPr>
            <p:cNvPr id="52277" name="Shape 297"/>
            <p:cNvSpPr>
              <a:spLocks/>
            </p:cNvSpPr>
            <p:nvPr/>
          </p:nvSpPr>
          <p:spPr bwMode="auto">
            <a:xfrm>
              <a:off x="-15" y="-15"/>
              <a:ext cx="1137605" cy="1135546"/>
            </a:xfrm>
            <a:custGeom>
              <a:avLst/>
              <a:gdLst>
                <a:gd name="T0" fmla="*/ 1901003628 w 19678"/>
                <a:gd name="T1" fmla="*/ 1890506363 h 19679"/>
                <a:gd name="T2" fmla="*/ 1901003628 w 19678"/>
                <a:gd name="T3" fmla="*/ 1890506363 h 19679"/>
                <a:gd name="T4" fmla="*/ 1901003628 w 19678"/>
                <a:gd name="T5" fmla="*/ 1890506363 h 19679"/>
                <a:gd name="T6" fmla="*/ 1901003628 w 19678"/>
                <a:gd name="T7" fmla="*/ 1890506363 h 19679"/>
                <a:gd name="T8" fmla="*/ 0 60000 65536"/>
                <a:gd name="T9" fmla="*/ 5898240 60000 65536"/>
                <a:gd name="T10" fmla="*/ 11796480 60000 65536"/>
                <a:gd name="T11" fmla="*/ 1769472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678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rgbClr val="A7A7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flat">
                  <a:solidFill>
                    <a:srgbClr val="000000"/>
                  </a:solidFill>
                  <a:miter lim="4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endParaRPr lang="en-US"/>
            </a:p>
          </p:txBody>
        </p:sp>
        <p:sp>
          <p:nvSpPr>
            <p:cNvPr id="52278" name="Shape 298"/>
            <p:cNvSpPr>
              <a:spLocks/>
            </p:cNvSpPr>
            <p:nvPr/>
          </p:nvSpPr>
          <p:spPr bwMode="auto">
            <a:xfrm>
              <a:off x="227321" y="208377"/>
              <a:ext cx="683045" cy="718876"/>
            </a:xfrm>
            <a:custGeom>
              <a:avLst/>
              <a:gdLst>
                <a:gd name="T0" fmla="*/ 341516017 w 21600"/>
                <a:gd name="T1" fmla="*/ 398129604 h 21600"/>
                <a:gd name="T2" fmla="*/ 341516017 w 21600"/>
                <a:gd name="T3" fmla="*/ 398129604 h 21600"/>
                <a:gd name="T4" fmla="*/ 341516017 w 21600"/>
                <a:gd name="T5" fmla="*/ 398129604 h 21600"/>
                <a:gd name="T6" fmla="*/ 341516017 w 21600"/>
                <a:gd name="T7" fmla="*/ 398129604 h 21600"/>
                <a:gd name="T8" fmla="*/ 0 60000 65536"/>
                <a:gd name="T9" fmla="*/ 5898240 60000 65536"/>
                <a:gd name="T10" fmla="*/ 11796480 60000 65536"/>
                <a:gd name="T11" fmla="*/ 1769472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 extrusionOk="0">
                  <a:moveTo>
                    <a:pt x="13319" y="14400"/>
                  </a:moveTo>
                  <a:lnTo>
                    <a:pt x="12871" y="14367"/>
                  </a:lnTo>
                  <a:lnTo>
                    <a:pt x="12871" y="12894"/>
                  </a:lnTo>
                  <a:lnTo>
                    <a:pt x="13319" y="12600"/>
                  </a:lnTo>
                  <a:lnTo>
                    <a:pt x="13768" y="12272"/>
                  </a:lnTo>
                  <a:lnTo>
                    <a:pt x="14182" y="11913"/>
                  </a:lnTo>
                  <a:lnTo>
                    <a:pt x="14596" y="11520"/>
                  </a:lnTo>
                  <a:lnTo>
                    <a:pt x="14941" y="11061"/>
                  </a:lnTo>
                  <a:lnTo>
                    <a:pt x="15562" y="10080"/>
                  </a:lnTo>
                  <a:lnTo>
                    <a:pt x="15804" y="9524"/>
                  </a:lnTo>
                  <a:lnTo>
                    <a:pt x="15907" y="9556"/>
                  </a:lnTo>
                  <a:lnTo>
                    <a:pt x="16114" y="9556"/>
                  </a:lnTo>
                  <a:lnTo>
                    <a:pt x="16287" y="9458"/>
                  </a:lnTo>
                  <a:lnTo>
                    <a:pt x="16459" y="9328"/>
                  </a:lnTo>
                  <a:lnTo>
                    <a:pt x="16597" y="9098"/>
                  </a:lnTo>
                  <a:lnTo>
                    <a:pt x="16735" y="8870"/>
                  </a:lnTo>
                  <a:lnTo>
                    <a:pt x="16874" y="8574"/>
                  </a:lnTo>
                  <a:lnTo>
                    <a:pt x="16942" y="8248"/>
                  </a:lnTo>
                  <a:lnTo>
                    <a:pt x="17011" y="7888"/>
                  </a:lnTo>
                  <a:lnTo>
                    <a:pt x="17045" y="7560"/>
                  </a:lnTo>
                  <a:lnTo>
                    <a:pt x="17011" y="7233"/>
                  </a:lnTo>
                  <a:lnTo>
                    <a:pt x="16977" y="6971"/>
                  </a:lnTo>
                  <a:lnTo>
                    <a:pt x="16908" y="6709"/>
                  </a:lnTo>
                  <a:lnTo>
                    <a:pt x="16838" y="6481"/>
                  </a:lnTo>
                  <a:lnTo>
                    <a:pt x="16735" y="6284"/>
                  </a:lnTo>
                  <a:lnTo>
                    <a:pt x="16597" y="6153"/>
                  </a:lnTo>
                  <a:lnTo>
                    <a:pt x="16425" y="6055"/>
                  </a:lnTo>
                  <a:lnTo>
                    <a:pt x="16528" y="5564"/>
                  </a:lnTo>
                  <a:lnTo>
                    <a:pt x="16562" y="5106"/>
                  </a:lnTo>
                  <a:lnTo>
                    <a:pt x="16562" y="4288"/>
                  </a:lnTo>
                  <a:lnTo>
                    <a:pt x="16528" y="3895"/>
                  </a:lnTo>
                  <a:lnTo>
                    <a:pt x="16459" y="3535"/>
                  </a:lnTo>
                  <a:lnTo>
                    <a:pt x="16355" y="3207"/>
                  </a:lnTo>
                  <a:lnTo>
                    <a:pt x="16252" y="2881"/>
                  </a:lnTo>
                  <a:lnTo>
                    <a:pt x="16114" y="2585"/>
                  </a:lnTo>
                  <a:lnTo>
                    <a:pt x="15975" y="2291"/>
                  </a:lnTo>
                  <a:lnTo>
                    <a:pt x="15804" y="2029"/>
                  </a:lnTo>
                  <a:lnTo>
                    <a:pt x="15597" y="1801"/>
                  </a:lnTo>
                  <a:lnTo>
                    <a:pt x="15389" y="1571"/>
                  </a:lnTo>
                  <a:lnTo>
                    <a:pt x="15182" y="1375"/>
                  </a:lnTo>
                  <a:lnTo>
                    <a:pt x="14734" y="1014"/>
                  </a:lnTo>
                  <a:lnTo>
                    <a:pt x="14216" y="754"/>
                  </a:lnTo>
                  <a:lnTo>
                    <a:pt x="13699" y="492"/>
                  </a:lnTo>
                  <a:lnTo>
                    <a:pt x="13182" y="328"/>
                  </a:lnTo>
                  <a:lnTo>
                    <a:pt x="12663" y="196"/>
                  </a:lnTo>
                  <a:lnTo>
                    <a:pt x="12146" y="98"/>
                  </a:lnTo>
                  <a:lnTo>
                    <a:pt x="11663" y="34"/>
                  </a:lnTo>
                  <a:lnTo>
                    <a:pt x="11214" y="0"/>
                  </a:lnTo>
                  <a:lnTo>
                    <a:pt x="10800" y="0"/>
                  </a:lnTo>
                  <a:lnTo>
                    <a:pt x="10317" y="34"/>
                  </a:lnTo>
                  <a:lnTo>
                    <a:pt x="9903" y="132"/>
                  </a:lnTo>
                  <a:lnTo>
                    <a:pt x="9557" y="230"/>
                  </a:lnTo>
                  <a:lnTo>
                    <a:pt x="9247" y="394"/>
                  </a:lnTo>
                  <a:lnTo>
                    <a:pt x="8971" y="524"/>
                  </a:lnTo>
                  <a:lnTo>
                    <a:pt x="8764" y="720"/>
                  </a:lnTo>
                  <a:lnTo>
                    <a:pt x="8557" y="884"/>
                  </a:lnTo>
                  <a:lnTo>
                    <a:pt x="8420" y="1048"/>
                  </a:lnTo>
                  <a:lnTo>
                    <a:pt x="7867" y="1146"/>
                  </a:lnTo>
                  <a:lnTo>
                    <a:pt x="7350" y="1310"/>
                  </a:lnTo>
                  <a:lnTo>
                    <a:pt x="6901" y="1539"/>
                  </a:lnTo>
                  <a:lnTo>
                    <a:pt x="6521" y="1768"/>
                  </a:lnTo>
                  <a:lnTo>
                    <a:pt x="6177" y="2063"/>
                  </a:lnTo>
                  <a:lnTo>
                    <a:pt x="5901" y="2357"/>
                  </a:lnTo>
                  <a:lnTo>
                    <a:pt x="5694" y="2717"/>
                  </a:lnTo>
                  <a:lnTo>
                    <a:pt x="5521" y="3077"/>
                  </a:lnTo>
                  <a:lnTo>
                    <a:pt x="5382" y="3437"/>
                  </a:lnTo>
                  <a:lnTo>
                    <a:pt x="5279" y="3797"/>
                  </a:lnTo>
                  <a:lnTo>
                    <a:pt x="5211" y="4190"/>
                  </a:lnTo>
                  <a:lnTo>
                    <a:pt x="5141" y="4582"/>
                  </a:lnTo>
                  <a:lnTo>
                    <a:pt x="5141" y="5334"/>
                  </a:lnTo>
                  <a:lnTo>
                    <a:pt x="5211" y="6022"/>
                  </a:lnTo>
                  <a:lnTo>
                    <a:pt x="5211" y="6055"/>
                  </a:lnTo>
                  <a:lnTo>
                    <a:pt x="5038" y="6121"/>
                  </a:lnTo>
                  <a:lnTo>
                    <a:pt x="4901" y="6251"/>
                  </a:lnTo>
                  <a:lnTo>
                    <a:pt x="4796" y="6447"/>
                  </a:lnTo>
                  <a:lnTo>
                    <a:pt x="4692" y="6677"/>
                  </a:lnTo>
                  <a:lnTo>
                    <a:pt x="4624" y="6939"/>
                  </a:lnTo>
                  <a:lnTo>
                    <a:pt x="4589" y="7233"/>
                  </a:lnTo>
                  <a:lnTo>
                    <a:pt x="4555" y="7560"/>
                  </a:lnTo>
                  <a:lnTo>
                    <a:pt x="4589" y="7888"/>
                  </a:lnTo>
                  <a:lnTo>
                    <a:pt x="4658" y="8248"/>
                  </a:lnTo>
                  <a:lnTo>
                    <a:pt x="4728" y="8574"/>
                  </a:lnTo>
                  <a:lnTo>
                    <a:pt x="4865" y="8870"/>
                  </a:lnTo>
                  <a:lnTo>
                    <a:pt x="5004" y="9098"/>
                  </a:lnTo>
                  <a:lnTo>
                    <a:pt x="5141" y="9328"/>
                  </a:lnTo>
                  <a:lnTo>
                    <a:pt x="5314" y="9458"/>
                  </a:lnTo>
                  <a:lnTo>
                    <a:pt x="5487" y="9556"/>
                  </a:lnTo>
                  <a:lnTo>
                    <a:pt x="5694" y="9556"/>
                  </a:lnTo>
                  <a:lnTo>
                    <a:pt x="5797" y="9524"/>
                  </a:lnTo>
                  <a:lnTo>
                    <a:pt x="6038" y="10080"/>
                  </a:lnTo>
                  <a:lnTo>
                    <a:pt x="6349" y="10571"/>
                  </a:lnTo>
                  <a:lnTo>
                    <a:pt x="6660" y="11061"/>
                  </a:lnTo>
                  <a:lnTo>
                    <a:pt x="7040" y="11520"/>
                  </a:lnTo>
                  <a:lnTo>
                    <a:pt x="7418" y="11913"/>
                  </a:lnTo>
                  <a:lnTo>
                    <a:pt x="7833" y="12272"/>
                  </a:lnTo>
                  <a:lnTo>
                    <a:pt x="8281" y="12600"/>
                  </a:lnTo>
                  <a:lnTo>
                    <a:pt x="8730" y="12894"/>
                  </a:lnTo>
                  <a:lnTo>
                    <a:pt x="8730" y="14335"/>
                  </a:lnTo>
                  <a:lnTo>
                    <a:pt x="8005" y="14400"/>
                  </a:lnTo>
                  <a:lnTo>
                    <a:pt x="7177" y="14531"/>
                  </a:lnTo>
                  <a:lnTo>
                    <a:pt x="5591" y="14859"/>
                  </a:lnTo>
                  <a:lnTo>
                    <a:pt x="4831" y="15087"/>
                  </a:lnTo>
                  <a:lnTo>
                    <a:pt x="4141" y="15349"/>
                  </a:lnTo>
                  <a:lnTo>
                    <a:pt x="3485" y="15643"/>
                  </a:lnTo>
                  <a:lnTo>
                    <a:pt x="2865" y="15971"/>
                  </a:lnTo>
                  <a:lnTo>
                    <a:pt x="2312" y="16330"/>
                  </a:lnTo>
                  <a:lnTo>
                    <a:pt x="1795" y="16690"/>
                  </a:lnTo>
                  <a:lnTo>
                    <a:pt x="1346" y="17116"/>
                  </a:lnTo>
                  <a:lnTo>
                    <a:pt x="966" y="17574"/>
                  </a:lnTo>
                  <a:lnTo>
                    <a:pt x="622" y="18032"/>
                  </a:lnTo>
                  <a:lnTo>
                    <a:pt x="380" y="18557"/>
                  </a:lnTo>
                  <a:lnTo>
                    <a:pt x="173" y="19079"/>
                  </a:lnTo>
                  <a:lnTo>
                    <a:pt x="69" y="19669"/>
                  </a:lnTo>
                  <a:lnTo>
                    <a:pt x="0" y="20258"/>
                  </a:lnTo>
                  <a:lnTo>
                    <a:pt x="69" y="20323"/>
                  </a:lnTo>
                  <a:lnTo>
                    <a:pt x="346" y="20454"/>
                  </a:lnTo>
                  <a:lnTo>
                    <a:pt x="587" y="20552"/>
                  </a:lnTo>
                  <a:lnTo>
                    <a:pt x="897" y="20684"/>
                  </a:lnTo>
                  <a:lnTo>
                    <a:pt x="1277" y="20814"/>
                  </a:lnTo>
                  <a:lnTo>
                    <a:pt x="1795" y="20912"/>
                  </a:lnTo>
                  <a:lnTo>
                    <a:pt x="2416" y="21044"/>
                  </a:lnTo>
                  <a:lnTo>
                    <a:pt x="3140" y="21174"/>
                  </a:lnTo>
                  <a:lnTo>
                    <a:pt x="4002" y="21272"/>
                  </a:lnTo>
                  <a:lnTo>
                    <a:pt x="5038" y="21402"/>
                  </a:lnTo>
                  <a:lnTo>
                    <a:pt x="6211" y="21468"/>
                  </a:lnTo>
                  <a:lnTo>
                    <a:pt x="7522" y="21534"/>
                  </a:lnTo>
                  <a:lnTo>
                    <a:pt x="9040" y="21566"/>
                  </a:lnTo>
                  <a:lnTo>
                    <a:pt x="10766" y="21600"/>
                  </a:lnTo>
                  <a:lnTo>
                    <a:pt x="12456" y="21566"/>
                  </a:lnTo>
                  <a:lnTo>
                    <a:pt x="13975" y="21534"/>
                  </a:lnTo>
                  <a:lnTo>
                    <a:pt x="15321" y="21468"/>
                  </a:lnTo>
                  <a:lnTo>
                    <a:pt x="16494" y="21402"/>
                  </a:lnTo>
                  <a:lnTo>
                    <a:pt x="17528" y="21272"/>
                  </a:lnTo>
                  <a:lnTo>
                    <a:pt x="18391" y="21174"/>
                  </a:lnTo>
                  <a:lnTo>
                    <a:pt x="19150" y="21044"/>
                  </a:lnTo>
                  <a:lnTo>
                    <a:pt x="19771" y="20912"/>
                  </a:lnTo>
                  <a:lnTo>
                    <a:pt x="20289" y="20814"/>
                  </a:lnTo>
                  <a:lnTo>
                    <a:pt x="20703" y="20684"/>
                  </a:lnTo>
                  <a:lnTo>
                    <a:pt x="21013" y="20552"/>
                  </a:lnTo>
                  <a:lnTo>
                    <a:pt x="21256" y="20454"/>
                  </a:lnTo>
                  <a:lnTo>
                    <a:pt x="21497" y="20323"/>
                  </a:lnTo>
                  <a:lnTo>
                    <a:pt x="21600" y="20258"/>
                  </a:lnTo>
                  <a:lnTo>
                    <a:pt x="21532" y="19636"/>
                  </a:lnTo>
                  <a:lnTo>
                    <a:pt x="21429" y="19047"/>
                  </a:lnTo>
                  <a:lnTo>
                    <a:pt x="21256" y="18491"/>
                  </a:lnTo>
                  <a:lnTo>
                    <a:pt x="21013" y="17967"/>
                  </a:lnTo>
                  <a:lnTo>
                    <a:pt x="20669" y="17476"/>
                  </a:lnTo>
                  <a:lnTo>
                    <a:pt x="20289" y="17018"/>
                  </a:lnTo>
                  <a:lnTo>
                    <a:pt x="19840" y="16626"/>
                  </a:lnTo>
                  <a:lnTo>
                    <a:pt x="19323" y="16232"/>
                  </a:lnTo>
                  <a:lnTo>
                    <a:pt x="18771" y="15873"/>
                  </a:lnTo>
                  <a:lnTo>
                    <a:pt x="18150" y="15578"/>
                  </a:lnTo>
                  <a:lnTo>
                    <a:pt x="17460" y="15283"/>
                  </a:lnTo>
                  <a:lnTo>
                    <a:pt x="16735" y="15055"/>
                  </a:lnTo>
                  <a:lnTo>
                    <a:pt x="15941" y="14825"/>
                  </a:lnTo>
                  <a:lnTo>
                    <a:pt x="15114" y="14661"/>
                  </a:lnTo>
                  <a:lnTo>
                    <a:pt x="14216" y="14499"/>
                  </a:lnTo>
                  <a:lnTo>
                    <a:pt x="13319" y="14400"/>
                  </a:lnTo>
                  <a:close/>
                </a:path>
              </a:pathLst>
            </a:custGeom>
            <a:noFill/>
            <a:ln w="12175" cap="rnd">
              <a:solidFill>
                <a:srgbClr val="FFFF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lIns="0" tIns="0" rIns="0" bIns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xmlns="" val="281613447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 bwMode="auto">
          <a:xfrm>
            <a:off x="0" y="0"/>
            <a:ext cx="14630400" cy="82296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3065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grpSp>
        <p:nvGrpSpPr>
          <p:cNvPr id="13" name="Group 15"/>
          <p:cNvGrpSpPr>
            <a:grpSpLocks/>
          </p:cNvGrpSpPr>
          <p:nvPr/>
        </p:nvGrpSpPr>
        <p:grpSpPr bwMode="auto">
          <a:xfrm>
            <a:off x="-16933" y="4762500"/>
            <a:ext cx="14647334" cy="3467100"/>
            <a:chOff x="-16933" y="4762500"/>
            <a:chExt cx="14630399" cy="3467101"/>
          </a:xfrm>
        </p:grpSpPr>
        <p:sp>
          <p:nvSpPr>
            <p:cNvPr id="14" name="Text Box 40"/>
            <p:cNvSpPr txBox="1">
              <a:spLocks noChangeArrowheads="1"/>
            </p:cNvSpPr>
            <p:nvPr/>
          </p:nvSpPr>
          <p:spPr bwMode="auto">
            <a:xfrm>
              <a:off x="13760450" y="7864475"/>
              <a:ext cx="654050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fld id="{D9445864-82E0-4CD0-8997-DA2E783B9D3F}" type="slidenum">
                <a:rPr lang="en-US" altLang="en-US" sz="1100">
                  <a:solidFill>
                    <a:srgbClr val="FFFFFF"/>
                  </a:solidFill>
                </a:rPr>
                <a:pPr eaLnBrk="1" hangingPunct="1">
                  <a:spcBef>
                    <a:spcPct val="50000"/>
                  </a:spcBef>
                </a:pPr>
                <a:t>29</a:t>
              </a:fld>
              <a:endParaRPr lang="en-US" altLang="en-US" sz="1100">
                <a:solidFill>
                  <a:srgbClr val="FFFFFF"/>
                </a:solidFill>
              </a:endParaRPr>
            </a:p>
          </p:txBody>
        </p:sp>
        <p:pic>
          <p:nvPicPr>
            <p:cNvPr id="15" name="Picture 16" descr="fundo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6933" y="4762500"/>
              <a:ext cx="14630399" cy="34671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Rounded Rectangle 1"/>
          <p:cNvSpPr/>
          <p:nvPr/>
        </p:nvSpPr>
        <p:spPr bwMode="auto">
          <a:xfrm>
            <a:off x="934162" y="1721225"/>
            <a:ext cx="12563960" cy="4355534"/>
          </a:xfrm>
          <a:prstGeom prst="roundRect">
            <a:avLst/>
          </a:prstGeom>
          <a:solidFill>
            <a:schemeClr val="bg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3065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6" name="Text Box 40"/>
          <p:cNvSpPr txBox="1">
            <a:spLocks noChangeArrowheads="1"/>
          </p:cNvSpPr>
          <p:nvPr/>
        </p:nvSpPr>
        <p:spPr bwMode="auto">
          <a:xfrm>
            <a:off x="13834292" y="7754492"/>
            <a:ext cx="654050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fld id="{D9445864-82E0-4CD0-8997-DA2E783B9D3F}" type="slidenum">
              <a:rPr lang="en-US" altLang="en-US" sz="1100">
                <a:solidFill>
                  <a:srgbClr val="FFFFFF"/>
                </a:solidFill>
              </a:rPr>
              <a:pPr eaLnBrk="1" hangingPunct="1">
                <a:spcBef>
                  <a:spcPct val="50000"/>
                </a:spcBef>
              </a:pPr>
              <a:t>29</a:t>
            </a:fld>
            <a:endParaRPr lang="en-US" altLang="en-US" sz="1100" dirty="0">
              <a:solidFill>
                <a:srgbClr val="FFFFFF"/>
              </a:solidFill>
            </a:endParaRPr>
          </a:p>
        </p:txBody>
      </p:sp>
      <p:sp>
        <p:nvSpPr>
          <p:cNvPr id="53250" name="Shape 301"/>
          <p:cNvSpPr>
            <a:spLocks noChangeArrowheads="1"/>
          </p:cNvSpPr>
          <p:nvPr/>
        </p:nvSpPr>
        <p:spPr bwMode="auto">
          <a:xfrm>
            <a:off x="736600" y="422685"/>
            <a:ext cx="10688320" cy="86868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130622" tIns="65311" rIns="130622" bIns="65311"/>
          <a:lstStyle/>
          <a:p>
            <a:pPr defTabSz="1300163"/>
            <a:r>
              <a:rPr lang="en-US" sz="3600" dirty="0">
                <a:solidFill>
                  <a:srgbClr val="83D1F5"/>
                </a:solidFill>
                <a:latin typeface="Arial" charset="0"/>
                <a:cs typeface="MS PGothic" charset="0"/>
                <a:sym typeface="Helvetica" charset="0"/>
              </a:rPr>
              <a:t>The Disruptors cause the huge paradigm shift:</a:t>
            </a:r>
          </a:p>
        </p:txBody>
      </p:sp>
      <p:pic>
        <p:nvPicPr>
          <p:cNvPr id="53252" name="image26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30986" y="2342773"/>
            <a:ext cx="2148840" cy="645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pic>
        <p:nvPicPr>
          <p:cNvPr id="53253" name="image27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18407"/>
          <a:stretch>
            <a:fillRect/>
          </a:stretch>
        </p:blipFill>
        <p:spPr bwMode="auto">
          <a:xfrm>
            <a:off x="4599306" y="2309753"/>
            <a:ext cx="1955800" cy="711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pic>
        <p:nvPicPr>
          <p:cNvPr id="53254" name="image28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115238" y="2213233"/>
            <a:ext cx="734059" cy="904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pic>
        <p:nvPicPr>
          <p:cNvPr id="53255" name="image29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448588" y="2182753"/>
            <a:ext cx="1051560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pic>
        <p:nvPicPr>
          <p:cNvPr id="53256" name="image30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38707" y="2170053"/>
            <a:ext cx="2778760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grpSp>
        <p:nvGrpSpPr>
          <p:cNvPr id="9" name="Group 332"/>
          <p:cNvGrpSpPr>
            <a:grpSpLocks/>
          </p:cNvGrpSpPr>
          <p:nvPr/>
        </p:nvGrpSpPr>
        <p:grpSpPr bwMode="auto">
          <a:xfrm>
            <a:off x="1568115" y="3702837"/>
            <a:ext cx="2235200" cy="1590040"/>
            <a:chOff x="0" y="0"/>
            <a:chExt cx="1396004" cy="994965"/>
          </a:xfrm>
        </p:grpSpPr>
        <p:pic>
          <p:nvPicPr>
            <p:cNvPr id="53259" name="pasted-image.png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400122"/>
              <a:ext cx="1396005" cy="5948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12700">
                  <a:solidFill>
                    <a:srgbClr val="000000"/>
                  </a:solidFill>
                  <a:miter lim="400000"/>
                  <a:headEnd/>
                  <a:tailEnd/>
                </a14:hiddenLine>
              </a:ext>
            </a:extLst>
          </p:spPr>
        </p:pic>
        <p:pic>
          <p:nvPicPr>
            <p:cNvPr id="53260" name="pasted-image.png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15" y="0"/>
              <a:ext cx="1313774" cy="2988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12700">
                  <a:solidFill>
                    <a:srgbClr val="000000"/>
                  </a:solidFill>
                  <a:miter lim="400000"/>
                  <a:headEnd/>
                  <a:tailEnd/>
                </a14:hiddenLine>
              </a:ext>
            </a:extLst>
          </p:spPr>
        </p:pic>
      </p:grpSp>
      <p:pic>
        <p:nvPicPr>
          <p:cNvPr id="12" name="dro27_9-copy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4078" b="20126"/>
          <a:stretch>
            <a:fillRect/>
          </a:stretch>
        </p:blipFill>
        <p:spPr bwMode="auto">
          <a:xfrm>
            <a:off x="4358492" y="3880779"/>
            <a:ext cx="3293243" cy="1590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67446419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21" name="Picture 3" descr="H:\transfer\capa-baixa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" r="-140"/>
          <a:stretch>
            <a:fillRect/>
          </a:stretch>
        </p:blipFill>
        <p:spPr bwMode="auto">
          <a:xfrm>
            <a:off x="0" y="0"/>
            <a:ext cx="14630400" cy="822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1" y="1"/>
            <a:ext cx="8932862" cy="1451610"/>
          </a:xfrm>
          <a:prstGeom prst="rect">
            <a:avLst/>
          </a:prstGeom>
          <a:gradFill flip="none" rotWithShape="1">
            <a:gsLst>
              <a:gs pos="32000">
                <a:schemeClr val="tx1">
                  <a:lumMod val="90000"/>
                  <a:lumOff val="10000"/>
                  <a:alpha val="83000"/>
                </a:schemeClr>
              </a:gs>
              <a:gs pos="89000">
                <a:schemeClr val="tx1">
                  <a:lumMod val="90000"/>
                  <a:lumOff val="10000"/>
                  <a:alpha val="0"/>
                </a:schemeClr>
              </a:gs>
              <a:gs pos="65000">
                <a:schemeClr val="tx1">
                  <a:lumMod val="90000"/>
                  <a:lumOff val="10000"/>
                  <a:alpha val="7600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15" tIns="65308" rIns="130615" bIns="65308" anchor="ctr"/>
          <a:lstStyle/>
          <a:p>
            <a:pPr algn="ctr" defTabSz="6530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900">
              <a:solidFill>
                <a:prstClr val="white"/>
              </a:solidFill>
              <a:latin typeface="Raleway" panose="020B0003030101060003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4595813"/>
            <a:ext cx="11626272" cy="3633787"/>
          </a:xfrm>
          <a:prstGeom prst="rect">
            <a:avLst/>
          </a:prstGeom>
          <a:gradFill flip="none" rotWithShape="1">
            <a:gsLst>
              <a:gs pos="32000">
                <a:schemeClr val="tx1">
                  <a:lumMod val="90000"/>
                  <a:lumOff val="10000"/>
                  <a:alpha val="83000"/>
                </a:schemeClr>
              </a:gs>
              <a:gs pos="89000">
                <a:schemeClr val="tx1">
                  <a:lumMod val="90000"/>
                  <a:lumOff val="10000"/>
                  <a:alpha val="0"/>
                </a:schemeClr>
              </a:gs>
              <a:gs pos="65000">
                <a:schemeClr val="tx1">
                  <a:lumMod val="90000"/>
                  <a:lumOff val="10000"/>
                  <a:alpha val="7600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15" tIns="65308" rIns="130615" bIns="65308" anchor="ctr"/>
          <a:lstStyle/>
          <a:p>
            <a:pPr algn="ctr" defTabSz="653077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900">
              <a:solidFill>
                <a:prstClr val="white"/>
              </a:solidFill>
              <a:latin typeface="Raleway" panose="020B0003030101060003" pitchFamily="34" charset="0"/>
            </a:endParaRPr>
          </a:p>
        </p:txBody>
      </p:sp>
      <p:sp>
        <p:nvSpPr>
          <p:cNvPr id="133128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665024" y="4473575"/>
            <a:ext cx="7970838" cy="1322388"/>
          </a:xfrm>
          <a:prstGeom prst="rect">
            <a:avLst/>
          </a:prstGeom>
        </p:spPr>
        <p:txBody>
          <a:bodyPr/>
          <a:lstStyle/>
          <a:p>
            <a:pPr marL="0" indent="0" eaLnBrk="1" hangingPunct="1">
              <a:lnSpc>
                <a:spcPct val="100000"/>
              </a:lnSpc>
            </a:pPr>
            <a:r>
              <a:rPr lang="en-US" altLang="en-US" sz="5400" b="1" dirty="0" smtClean="0">
                <a:solidFill>
                  <a:srgbClr val="FFC000"/>
                </a:solidFill>
                <a:latin typeface="Lubalin Demi for IBM" pitchFamily="1" charset="0"/>
                <a:ea typeface="ＭＳ Ｐゴシック" pitchFamily="34" charset="-128"/>
              </a:rPr>
              <a:t>Experience in </a:t>
            </a:r>
            <a:r>
              <a:rPr lang="en-US" altLang="en-US" sz="7100" b="1" i="1" dirty="0" smtClean="0">
                <a:latin typeface="Lubalin Demi for IBM" pitchFamily="1" charset="0"/>
                <a:ea typeface="ＭＳ Ｐゴシック" pitchFamily="34" charset="-128"/>
              </a:rPr>
              <a:t>Motion</a:t>
            </a:r>
          </a:p>
        </p:txBody>
      </p:sp>
      <p:sp>
        <p:nvSpPr>
          <p:cNvPr id="133129" name="Text Placeholder 16"/>
          <p:cNvSpPr txBox="1">
            <a:spLocks/>
          </p:cNvSpPr>
          <p:nvPr/>
        </p:nvSpPr>
        <p:spPr bwMode="auto">
          <a:xfrm>
            <a:off x="9917257" y="-63500"/>
            <a:ext cx="4733925" cy="788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0615" tIns="65308" rIns="130615" bIns="65308"/>
          <a:lstStyle>
            <a:lvl1pPr marL="152400" defTabSz="1304925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304925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304925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304925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304925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304925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304925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304925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304925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lnSpc>
                <a:spcPts val="6000"/>
              </a:lnSpc>
              <a:buFont typeface="Wingdings" pitchFamily="2" charset="2"/>
              <a:buNone/>
            </a:pPr>
            <a:r>
              <a:rPr lang="en-US" altLang="en-US" sz="3200" b="1" dirty="0">
                <a:solidFill>
                  <a:srgbClr val="0050A6"/>
                </a:solidFill>
                <a:latin typeface="Lubalin Demi for IBM" pitchFamily="1" charset="0"/>
              </a:rPr>
              <a:t>A</a:t>
            </a:r>
            <a:r>
              <a:rPr lang="en-US" altLang="en-US" sz="3200" b="1" dirty="0" smtClean="0">
                <a:solidFill>
                  <a:srgbClr val="0050A6"/>
                </a:solidFill>
                <a:latin typeface="Lubalin Demi for IBM" pitchFamily="1" charset="0"/>
              </a:rPr>
              <a:t>na Paula </a:t>
            </a:r>
            <a:r>
              <a:rPr lang="en-US" altLang="en-US" sz="3200" b="1" dirty="0" err="1">
                <a:solidFill>
                  <a:srgbClr val="0050A6"/>
                </a:solidFill>
                <a:latin typeface="Lubalin Demi for IBM" pitchFamily="1" charset="0"/>
              </a:rPr>
              <a:t>A</a:t>
            </a:r>
            <a:r>
              <a:rPr lang="en-US" altLang="en-US" sz="3200" b="1" dirty="0" err="1" smtClean="0">
                <a:solidFill>
                  <a:srgbClr val="0050A6"/>
                </a:solidFill>
                <a:latin typeface="Lubalin Demi for IBM" pitchFamily="1" charset="0"/>
              </a:rPr>
              <a:t>ssis</a:t>
            </a:r>
            <a:endParaRPr lang="pt-BR" altLang="en-US" sz="1800" b="1" dirty="0">
              <a:solidFill>
                <a:srgbClr val="0050A6"/>
              </a:solidFill>
              <a:latin typeface="Lubalin Demi for IBM" pitchFamily="1" charset="0"/>
            </a:endParaRPr>
          </a:p>
        </p:txBody>
      </p:sp>
      <p:sp>
        <p:nvSpPr>
          <p:cNvPr id="133130" name="Text Placeholder 16"/>
          <p:cNvSpPr txBox="1">
            <a:spLocks/>
          </p:cNvSpPr>
          <p:nvPr/>
        </p:nvSpPr>
        <p:spPr bwMode="auto">
          <a:xfrm>
            <a:off x="9937750" y="690563"/>
            <a:ext cx="4692650" cy="71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0615" tIns="65308" rIns="130615" bIns="65308"/>
          <a:lstStyle>
            <a:lvl1pPr marL="152400" defTabSz="1304925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304925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304925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304925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304925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304925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304925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304925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304925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pt-BR" altLang="en-US" sz="1900" b="1" dirty="0">
                <a:solidFill>
                  <a:srgbClr val="001934"/>
                </a:solidFill>
                <a:latin typeface="Lubalin Demi for IBM" pitchFamily="1" charset="0"/>
                <a:cs typeface="Arial" pitchFamily="34" charset="0"/>
              </a:rPr>
              <a:t>V</a:t>
            </a:r>
            <a:r>
              <a:rPr lang="pt-BR" altLang="en-US" sz="1900" b="1" dirty="0" smtClean="0">
                <a:solidFill>
                  <a:srgbClr val="001934"/>
                </a:solidFill>
                <a:latin typeface="Lubalin Demi for IBM" pitchFamily="1" charset="0"/>
                <a:cs typeface="Arial" pitchFamily="34" charset="0"/>
              </a:rPr>
              <a:t>ice </a:t>
            </a:r>
            <a:r>
              <a:rPr lang="pt-BR" altLang="en-US" sz="1900" b="1" dirty="0" err="1" smtClean="0">
                <a:solidFill>
                  <a:srgbClr val="001934"/>
                </a:solidFill>
                <a:latin typeface="Lubalin Demi for IBM" pitchFamily="1" charset="0"/>
                <a:cs typeface="Arial" pitchFamily="34" charset="0"/>
              </a:rPr>
              <a:t>President</a:t>
            </a:r>
            <a:r>
              <a:rPr lang="pt-BR" altLang="en-US" sz="1900" b="1" dirty="0">
                <a:solidFill>
                  <a:srgbClr val="001934"/>
                </a:solidFill>
                <a:latin typeface="Lubalin Demi for IBM" pitchFamily="1" charset="0"/>
                <a:cs typeface="Arial" pitchFamily="34" charset="0"/>
              </a:rPr>
              <a:t/>
            </a:r>
            <a:br>
              <a:rPr lang="pt-BR" altLang="en-US" sz="1900" b="1" dirty="0">
                <a:solidFill>
                  <a:srgbClr val="001934"/>
                </a:solidFill>
                <a:latin typeface="Lubalin Demi for IBM" pitchFamily="1" charset="0"/>
                <a:cs typeface="Arial" pitchFamily="34" charset="0"/>
              </a:rPr>
            </a:br>
            <a:r>
              <a:rPr lang="pt-BR" altLang="en-US" sz="1900" b="1" dirty="0">
                <a:solidFill>
                  <a:srgbClr val="001934"/>
                </a:solidFill>
                <a:latin typeface="Lubalin Demi for IBM" pitchFamily="1" charset="0"/>
                <a:cs typeface="Arial" pitchFamily="34" charset="0"/>
              </a:rPr>
              <a:t>S</a:t>
            </a:r>
            <a:r>
              <a:rPr lang="pt-BR" altLang="en-US" sz="1900" b="1" dirty="0" smtClean="0">
                <a:solidFill>
                  <a:srgbClr val="001934"/>
                </a:solidFill>
                <a:latin typeface="Lubalin Demi for IBM" pitchFamily="1" charset="0"/>
                <a:cs typeface="Arial" pitchFamily="34" charset="0"/>
              </a:rPr>
              <a:t>oftware </a:t>
            </a:r>
            <a:r>
              <a:rPr lang="pt-BR" altLang="en-US" sz="1900" b="1" dirty="0" err="1" smtClean="0">
                <a:solidFill>
                  <a:srgbClr val="001934"/>
                </a:solidFill>
                <a:latin typeface="Lubalin Demi for IBM" pitchFamily="1" charset="0"/>
                <a:cs typeface="Arial" pitchFamily="34" charset="0"/>
              </a:rPr>
              <a:t>Group</a:t>
            </a:r>
            <a:r>
              <a:rPr lang="pt-BR" altLang="en-US" sz="1900" b="1" dirty="0" smtClean="0">
                <a:solidFill>
                  <a:srgbClr val="001934"/>
                </a:solidFill>
                <a:latin typeface="Lubalin Demi for IBM" pitchFamily="1" charset="0"/>
                <a:cs typeface="Arial" pitchFamily="34" charset="0"/>
              </a:rPr>
              <a:t> </a:t>
            </a:r>
            <a:r>
              <a:rPr lang="pt-BR" altLang="en-US" sz="1900" b="1" dirty="0" err="1" smtClean="0">
                <a:solidFill>
                  <a:srgbClr val="001934"/>
                </a:solidFill>
                <a:latin typeface="Lubalin Demi for IBM" pitchFamily="1" charset="0"/>
                <a:cs typeface="Arial" pitchFamily="34" charset="0"/>
              </a:rPr>
              <a:t>Brazil</a:t>
            </a:r>
            <a:endParaRPr lang="pt-BR" altLang="en-US" sz="1900" b="1" dirty="0">
              <a:solidFill>
                <a:srgbClr val="001934"/>
              </a:solidFill>
              <a:latin typeface="Lubalin Demi for IBM" pitchFamily="1" charset="0"/>
              <a:cs typeface="Arial" pitchFamily="34" charset="0"/>
            </a:endParaRPr>
          </a:p>
        </p:txBody>
      </p:sp>
      <p:pic>
        <p:nvPicPr>
          <p:cNvPr id="133132" name="Picture 8" descr="IBM logo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6600" y="540327"/>
            <a:ext cx="946727" cy="362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" name="Group 13"/>
          <p:cNvGrpSpPr>
            <a:grpSpLocks/>
          </p:cNvGrpSpPr>
          <p:nvPr/>
        </p:nvGrpSpPr>
        <p:grpSpPr bwMode="auto">
          <a:xfrm>
            <a:off x="-45248513" y="4792663"/>
            <a:ext cx="38407975" cy="2232025"/>
            <a:chOff x="-15180263" y="-186991"/>
            <a:chExt cx="26630812" cy="1860341"/>
          </a:xfrm>
        </p:grpSpPr>
        <p:sp>
          <p:nvSpPr>
            <p:cNvPr id="133138" name="TextBox 14"/>
            <p:cNvSpPr txBox="1">
              <a:spLocks noChangeArrowheads="1"/>
            </p:cNvSpPr>
            <p:nvPr/>
          </p:nvSpPr>
          <p:spPr bwMode="auto">
            <a:xfrm>
              <a:off x="-6330713" y="-160532"/>
              <a:ext cx="17781262" cy="18338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12600">
                  <a:solidFill>
                    <a:srgbClr val="FFFF4F"/>
                  </a:solidFill>
                  <a:latin typeface="Calibri" pitchFamily="34" charset="0"/>
                  <a:cs typeface="Arial" pitchFamily="34" charset="0"/>
                </a:rPr>
                <a:t>Business</a:t>
              </a:r>
              <a:r>
                <a:rPr lang="en-US" altLang="en-US" sz="10300">
                  <a:solidFill>
                    <a:srgbClr val="FFFF4F"/>
                  </a:solidFill>
                  <a:latin typeface="Calibri" pitchFamily="34" charset="0"/>
                  <a:cs typeface="Arial" pitchFamily="34" charset="0"/>
                </a:rPr>
                <a:t> </a:t>
              </a:r>
              <a:r>
                <a:rPr lang="en-US" altLang="en-US" sz="9400">
                  <a:solidFill>
                    <a:srgbClr val="FFFF4F"/>
                  </a:solidFill>
                  <a:latin typeface="Calibri" pitchFamily="34" charset="0"/>
                  <a:cs typeface="Arial" pitchFamily="34" charset="0"/>
                </a:rPr>
                <a:t>in</a:t>
              </a:r>
              <a:r>
                <a:rPr lang="en-US" altLang="en-US" sz="9400" i="1">
                  <a:solidFill>
                    <a:srgbClr val="FFFF4F"/>
                  </a:solidFill>
                  <a:latin typeface="Calibri" pitchFamily="34" charset="0"/>
                  <a:cs typeface="Arial" pitchFamily="34" charset="0"/>
                </a:rPr>
                <a:t> Motion</a:t>
              </a:r>
              <a:r>
                <a:rPr lang="en-US" altLang="en-US" sz="9400">
                  <a:solidFill>
                    <a:srgbClr val="FFFF4F"/>
                  </a:solidFill>
                  <a:latin typeface="Calibri" pitchFamily="34" charset="0"/>
                  <a:cs typeface="Arial" pitchFamily="34" charset="0"/>
                </a:rPr>
                <a:t>                 </a:t>
              </a:r>
              <a:r>
                <a:rPr lang="en-US" altLang="en-US" sz="13700">
                  <a:solidFill>
                    <a:srgbClr val="7030A0"/>
                  </a:solidFill>
                  <a:latin typeface="Calibri" pitchFamily="34" charset="0"/>
                  <a:cs typeface="Arial" pitchFamily="34" charset="0"/>
                </a:rPr>
                <a:t>Design</a:t>
              </a:r>
              <a:r>
                <a:rPr lang="en-US" altLang="en-US" sz="11400">
                  <a:solidFill>
                    <a:srgbClr val="7030A0"/>
                  </a:solidFill>
                  <a:latin typeface="Calibri" pitchFamily="34" charset="0"/>
                  <a:cs typeface="Arial" pitchFamily="34" charset="0"/>
                </a:rPr>
                <a:t> </a:t>
              </a:r>
              <a:r>
                <a:rPr lang="en-US" altLang="en-US" sz="9400" b="1">
                  <a:solidFill>
                    <a:srgbClr val="7030A0"/>
                  </a:solidFill>
                  <a:latin typeface="Calibri" pitchFamily="34" charset="0"/>
                  <a:cs typeface="Arial" pitchFamily="34" charset="0"/>
                </a:rPr>
                <a:t>in </a:t>
              </a:r>
              <a:r>
                <a:rPr lang="en-US" altLang="en-US" sz="9400" b="1" i="1">
                  <a:solidFill>
                    <a:srgbClr val="7030A0"/>
                  </a:solidFill>
                  <a:latin typeface="Calibri" pitchFamily="34" charset="0"/>
                  <a:cs typeface="Arial" pitchFamily="34" charset="0"/>
                </a:rPr>
                <a:t>Motion</a:t>
              </a:r>
            </a:p>
          </p:txBody>
        </p:sp>
        <p:sp>
          <p:nvSpPr>
            <p:cNvPr id="133139" name="TextBox 15"/>
            <p:cNvSpPr txBox="1">
              <a:spLocks noChangeArrowheads="1"/>
            </p:cNvSpPr>
            <p:nvPr/>
          </p:nvSpPr>
          <p:spPr bwMode="auto">
            <a:xfrm>
              <a:off x="-15180263" y="-186991"/>
              <a:ext cx="8373315" cy="18338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13700">
                  <a:solidFill>
                    <a:srgbClr val="92D050"/>
                  </a:solidFill>
                  <a:latin typeface="Calibri" pitchFamily="34" charset="0"/>
                  <a:cs typeface="Arial" pitchFamily="34" charset="0"/>
                </a:rPr>
                <a:t>Design</a:t>
              </a:r>
              <a:r>
                <a:rPr lang="en-US" altLang="en-US" sz="10300">
                  <a:solidFill>
                    <a:srgbClr val="92D050"/>
                  </a:solidFill>
                  <a:latin typeface="Calibri" pitchFamily="34" charset="0"/>
                  <a:cs typeface="Arial" pitchFamily="34" charset="0"/>
                </a:rPr>
                <a:t> </a:t>
              </a:r>
              <a:r>
                <a:rPr lang="en-US" altLang="en-US" sz="9400">
                  <a:solidFill>
                    <a:srgbClr val="92D050"/>
                  </a:solidFill>
                  <a:latin typeface="Calibri" pitchFamily="34" charset="0"/>
                  <a:cs typeface="Arial" pitchFamily="34" charset="0"/>
                </a:rPr>
                <a:t>in </a:t>
              </a:r>
              <a:r>
                <a:rPr lang="en-US" altLang="en-US" sz="9400" i="1">
                  <a:solidFill>
                    <a:srgbClr val="92D050"/>
                  </a:solidFill>
                  <a:latin typeface="Calibri" pitchFamily="34" charset="0"/>
                  <a:cs typeface="Arial" pitchFamily="34" charset="0"/>
                </a:rPr>
                <a:t>Motion</a:t>
              </a:r>
            </a:p>
          </p:txBody>
        </p:sp>
      </p:grpSp>
      <p:grpSp>
        <p:nvGrpSpPr>
          <p:cNvPr id="18" name="Group 17"/>
          <p:cNvGrpSpPr>
            <a:grpSpLocks/>
          </p:cNvGrpSpPr>
          <p:nvPr/>
        </p:nvGrpSpPr>
        <p:grpSpPr bwMode="auto">
          <a:xfrm>
            <a:off x="19477038" y="5891213"/>
            <a:ext cx="59567762" cy="2767012"/>
            <a:chOff x="-27942941" y="-541537"/>
            <a:chExt cx="37230820" cy="2305290"/>
          </a:xfrm>
        </p:grpSpPr>
        <p:sp>
          <p:nvSpPr>
            <p:cNvPr id="133135" name="TextBox 47"/>
            <p:cNvSpPr txBox="1">
              <a:spLocks noChangeArrowheads="1"/>
            </p:cNvSpPr>
            <p:nvPr/>
          </p:nvSpPr>
          <p:spPr bwMode="auto">
            <a:xfrm>
              <a:off x="-5422217" y="-541537"/>
              <a:ext cx="14710096" cy="21796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16400">
                  <a:solidFill>
                    <a:srgbClr val="00B0F0"/>
                  </a:solidFill>
                  <a:latin typeface="Calibri" pitchFamily="34" charset="0"/>
                  <a:cs typeface="Arial" pitchFamily="34" charset="0"/>
                </a:rPr>
                <a:t>                    </a:t>
              </a:r>
              <a:r>
                <a:rPr lang="en-US" altLang="en-US" sz="13700">
                  <a:solidFill>
                    <a:srgbClr val="00B0F0"/>
                  </a:solidFill>
                  <a:latin typeface="Calibri" pitchFamily="34" charset="0"/>
                  <a:cs typeface="Arial" pitchFamily="34" charset="0"/>
                </a:rPr>
                <a:t>Experience</a:t>
              </a:r>
              <a:r>
                <a:rPr lang="en-US" altLang="en-US" sz="9400">
                  <a:solidFill>
                    <a:srgbClr val="00B0F0"/>
                  </a:solidFill>
                  <a:latin typeface="Calibri" pitchFamily="34" charset="0"/>
                  <a:cs typeface="Arial" pitchFamily="34" charset="0"/>
                </a:rPr>
                <a:t> in </a:t>
              </a:r>
              <a:r>
                <a:rPr lang="en-US" altLang="en-US" sz="9400" i="1">
                  <a:solidFill>
                    <a:srgbClr val="00B0F0"/>
                  </a:solidFill>
                  <a:latin typeface="Calibri" pitchFamily="34" charset="0"/>
                  <a:cs typeface="Arial" pitchFamily="34" charset="0"/>
                </a:rPr>
                <a:t>Motion</a:t>
              </a:r>
            </a:p>
          </p:txBody>
        </p:sp>
        <p:sp>
          <p:nvSpPr>
            <p:cNvPr id="133136" name="TextBox 19"/>
            <p:cNvSpPr txBox="1">
              <a:spLocks noChangeArrowheads="1"/>
            </p:cNvSpPr>
            <p:nvPr/>
          </p:nvSpPr>
          <p:spPr bwMode="auto">
            <a:xfrm>
              <a:off x="-15687122" y="-415886"/>
              <a:ext cx="14454564" cy="21796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/>
              <a:r>
                <a:rPr lang="en-US" altLang="en-US" sz="16400">
                  <a:solidFill>
                    <a:srgbClr val="00152C"/>
                  </a:solidFill>
                  <a:latin typeface="Calibri" pitchFamily="34" charset="0"/>
                  <a:cs typeface="Arial" pitchFamily="34" charset="0"/>
                </a:rPr>
                <a:t>                      </a:t>
              </a:r>
              <a:r>
                <a:rPr lang="en-US" altLang="en-US" sz="16400">
                  <a:solidFill>
                    <a:srgbClr val="EE3E96"/>
                  </a:solidFill>
                  <a:latin typeface="Calibri" pitchFamily="34" charset="0"/>
                  <a:cs typeface="Arial" pitchFamily="34" charset="0"/>
                </a:rPr>
                <a:t>Design</a:t>
              </a:r>
              <a:r>
                <a:rPr lang="en-US" altLang="en-US" sz="9400">
                  <a:solidFill>
                    <a:srgbClr val="EE3E96"/>
                  </a:solidFill>
                  <a:latin typeface="Calibri" pitchFamily="34" charset="0"/>
                  <a:cs typeface="Arial" pitchFamily="34" charset="0"/>
                </a:rPr>
                <a:t> in </a:t>
              </a:r>
              <a:r>
                <a:rPr lang="en-US" altLang="en-US" sz="9400" i="1">
                  <a:solidFill>
                    <a:srgbClr val="EE3E96"/>
                  </a:solidFill>
                  <a:latin typeface="Calibri" pitchFamily="34" charset="0"/>
                  <a:cs typeface="Arial" pitchFamily="34" charset="0"/>
                </a:rPr>
                <a:t>Motion</a:t>
              </a:r>
            </a:p>
          </p:txBody>
        </p:sp>
        <p:sp>
          <p:nvSpPr>
            <p:cNvPr id="133137" name="TextBox 20"/>
            <p:cNvSpPr txBox="1">
              <a:spLocks noChangeArrowheads="1"/>
            </p:cNvSpPr>
            <p:nvPr/>
          </p:nvSpPr>
          <p:spPr bwMode="auto">
            <a:xfrm>
              <a:off x="-27942941" y="-197649"/>
              <a:ext cx="16677121" cy="19300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lnSpc>
                  <a:spcPts val="17138"/>
                </a:lnSpc>
              </a:pPr>
              <a:r>
                <a:rPr lang="en-US" altLang="en-US" sz="13100" b="1">
                  <a:solidFill>
                    <a:srgbClr val="00B0F0"/>
                  </a:solidFill>
                  <a:latin typeface="Calibri" pitchFamily="34" charset="0"/>
                  <a:cs typeface="Arial" pitchFamily="34" charset="0"/>
                </a:rPr>
                <a:t>Business</a:t>
              </a:r>
              <a:r>
                <a:rPr lang="en-US" altLang="en-US" sz="15300">
                  <a:solidFill>
                    <a:srgbClr val="00B0F0"/>
                  </a:solidFill>
                  <a:latin typeface="Calibri" pitchFamily="34" charset="0"/>
                  <a:cs typeface="Arial" pitchFamily="34" charset="0"/>
                </a:rPr>
                <a:t> </a:t>
              </a:r>
              <a:r>
                <a:rPr lang="en-US" altLang="en-US" sz="9900">
                  <a:solidFill>
                    <a:srgbClr val="00B0F0"/>
                  </a:solidFill>
                  <a:latin typeface="Calibri" pitchFamily="34" charset="0"/>
                  <a:cs typeface="Arial" pitchFamily="34" charset="0"/>
                </a:rPr>
                <a:t>in </a:t>
              </a:r>
              <a:r>
                <a:rPr lang="en-US" altLang="en-US" sz="9900" i="1">
                  <a:solidFill>
                    <a:srgbClr val="00B0F0"/>
                  </a:solidFill>
                  <a:latin typeface="Calibri" pitchFamily="34" charset="0"/>
                  <a:cs typeface="Arial" pitchFamily="34" charset="0"/>
                </a:rPr>
                <a:t>Motion</a:t>
              </a:r>
              <a:r>
                <a:rPr lang="en-US" altLang="en-US" sz="9600" b="1">
                  <a:solidFill>
                    <a:srgbClr val="00152C"/>
                  </a:solidFill>
                  <a:latin typeface="Calibri" pitchFamily="34" charset="0"/>
                  <a:cs typeface="Arial" pitchFamily="34" charset="0"/>
                </a:rPr>
                <a:t> </a:t>
              </a:r>
              <a:r>
                <a:rPr lang="en-US" altLang="en-US" sz="9900" i="1">
                  <a:solidFill>
                    <a:srgbClr val="00B0F0"/>
                  </a:solidFill>
                  <a:latin typeface="Calibri" pitchFamily="34" charset="0"/>
                  <a:cs typeface="Arial" pitchFamily="34" charset="0"/>
                </a:rPr>
                <a:t>          </a:t>
              </a:r>
              <a:r>
                <a:rPr lang="en-US" altLang="en-US" sz="9900" b="1">
                  <a:solidFill>
                    <a:srgbClr val="17AF4B"/>
                  </a:solidFill>
                  <a:latin typeface="Calibri" pitchFamily="34" charset="0"/>
                  <a:cs typeface="Arial" pitchFamily="34" charset="0"/>
                </a:rPr>
                <a:t>Experience in </a:t>
              </a:r>
              <a:r>
                <a:rPr lang="en-US" altLang="en-US" sz="11600" b="1" i="1">
                  <a:solidFill>
                    <a:srgbClr val="17AF4B"/>
                  </a:solidFill>
                  <a:latin typeface="Calibri" pitchFamily="34" charset="0"/>
                  <a:cs typeface="Arial" pitchFamily="34" charset="0"/>
                </a:rPr>
                <a:t>Motion</a:t>
              </a:r>
              <a:endParaRPr lang="en-US" altLang="en-US" sz="9600" i="1">
                <a:solidFill>
                  <a:srgbClr val="00B0F0"/>
                </a:solidFill>
                <a:latin typeface="Calibri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11453004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48802 0.02245 L 6.49827 0.02245 " pathEditMode="relative" rAng="0" ptsTypes="AA">
                                      <p:cBhvr>
                                        <p:cTn id="6" dur="2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50503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35" presetClass="path" presetSubtype="0" repeatCount="indefinite" accel="50000" decel="50000" autoRev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33789 -0.00405 L -5.70779 -0.00405 " pathEditMode="relative" rAng="0" ptsTypes="AA">
                                      <p:cBhvr>
                                        <p:cTn id="8" dur="2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1849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40"/>
          <p:cNvSpPr txBox="1">
            <a:spLocks noChangeArrowheads="1"/>
          </p:cNvSpPr>
          <p:nvPr/>
        </p:nvSpPr>
        <p:spPr bwMode="auto">
          <a:xfrm>
            <a:off x="13834292" y="7754492"/>
            <a:ext cx="654050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fld id="{D9445864-82E0-4CD0-8997-DA2E783B9D3F}" type="slidenum">
              <a:rPr lang="en-US" altLang="en-US" sz="1100">
                <a:solidFill>
                  <a:srgbClr val="FFFFFF"/>
                </a:solidFill>
              </a:rPr>
              <a:pPr eaLnBrk="1" hangingPunct="1">
                <a:spcBef>
                  <a:spcPct val="50000"/>
                </a:spcBef>
              </a:pPr>
              <a:t>30</a:t>
            </a:fld>
            <a:endParaRPr lang="en-US" altLang="en-US" sz="1100" dirty="0">
              <a:solidFill>
                <a:srgbClr val="FFFFFF"/>
              </a:solidFill>
            </a:endParaRPr>
          </a:p>
        </p:txBody>
      </p:sp>
      <p:pic>
        <p:nvPicPr>
          <p:cNvPr id="54273" name="Picture 2" descr="C:\Users\IBM_AD~1\AppData\Local\Temp\notes32C5CD\FullSizeRender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7115" b="7886"/>
          <a:stretch/>
        </p:blipFill>
        <p:spPr bwMode="auto">
          <a:xfrm>
            <a:off x="0" y="1"/>
            <a:ext cx="14630400" cy="822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09485248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6433" name="Picture 1" descr="Mauro_IBMix Credentials_20140721_Page_17"/>
          <p:cNvPicPr>
            <a:picLocks noGrp="1" noChangeAspect="1"/>
          </p:cNvPicPr>
          <p:nvPr isPhoto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24998"/>
          <a:stretch>
            <a:fillRect/>
          </a:stretch>
        </p:blipFill>
        <p:spPr bwMode="auto">
          <a:xfrm>
            <a:off x="0" y="0"/>
            <a:ext cx="14630400" cy="822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6434" name="Group 4"/>
          <p:cNvGrpSpPr>
            <a:grpSpLocks/>
          </p:cNvGrpSpPr>
          <p:nvPr/>
        </p:nvGrpSpPr>
        <p:grpSpPr bwMode="auto">
          <a:xfrm>
            <a:off x="-76200" y="3686175"/>
            <a:ext cx="7829550" cy="3255963"/>
            <a:chOff x="-76200" y="3686173"/>
            <a:chExt cx="7829550" cy="3255839"/>
          </a:xfrm>
        </p:grpSpPr>
        <p:sp>
          <p:nvSpPr>
            <p:cNvPr id="4" name="Freeform 3"/>
            <p:cNvSpPr/>
            <p:nvPr/>
          </p:nvSpPr>
          <p:spPr>
            <a:xfrm>
              <a:off x="-76200" y="3686173"/>
              <a:ext cx="7829550" cy="3255839"/>
            </a:xfrm>
            <a:custGeom>
              <a:avLst/>
              <a:gdLst>
                <a:gd name="connsiteX0" fmla="*/ 76542 w 7839417"/>
                <a:gd name="connsiteY0" fmla="*/ 0 h 3276600"/>
                <a:gd name="connsiteX1" fmla="*/ 7839417 w 7839417"/>
                <a:gd name="connsiteY1" fmla="*/ 0 h 3276600"/>
                <a:gd name="connsiteX2" fmla="*/ 6372567 w 7839417"/>
                <a:gd name="connsiteY2" fmla="*/ 1628775 h 3276600"/>
                <a:gd name="connsiteX3" fmla="*/ 5239092 w 7839417"/>
                <a:gd name="connsiteY3" fmla="*/ 1628775 h 3276600"/>
                <a:gd name="connsiteX4" fmla="*/ 2152992 w 7839417"/>
                <a:gd name="connsiteY4" fmla="*/ 3257550 h 3276600"/>
                <a:gd name="connsiteX5" fmla="*/ 2029167 w 7839417"/>
                <a:gd name="connsiteY5" fmla="*/ 3267075 h 3276600"/>
                <a:gd name="connsiteX6" fmla="*/ 1972017 w 7839417"/>
                <a:gd name="connsiteY6" fmla="*/ 3276600 h 3276600"/>
                <a:gd name="connsiteX7" fmla="*/ 1676742 w 7839417"/>
                <a:gd name="connsiteY7" fmla="*/ 3267075 h 3276600"/>
                <a:gd name="connsiteX8" fmla="*/ 1543392 w 7839417"/>
                <a:gd name="connsiteY8" fmla="*/ 3248025 h 3276600"/>
                <a:gd name="connsiteX9" fmla="*/ 1486242 w 7839417"/>
                <a:gd name="connsiteY9" fmla="*/ 3228975 h 3276600"/>
                <a:gd name="connsiteX10" fmla="*/ 1362417 w 7839417"/>
                <a:gd name="connsiteY10" fmla="*/ 3219450 h 3276600"/>
                <a:gd name="connsiteX11" fmla="*/ 1286217 w 7839417"/>
                <a:gd name="connsiteY11" fmla="*/ 3200400 h 3276600"/>
                <a:gd name="connsiteX12" fmla="*/ 1210017 w 7839417"/>
                <a:gd name="connsiteY12" fmla="*/ 3171825 h 3276600"/>
                <a:gd name="connsiteX13" fmla="*/ 1114767 w 7839417"/>
                <a:gd name="connsiteY13" fmla="*/ 3143250 h 3276600"/>
                <a:gd name="connsiteX14" fmla="*/ 1057617 w 7839417"/>
                <a:gd name="connsiteY14" fmla="*/ 3114675 h 3276600"/>
                <a:gd name="connsiteX15" fmla="*/ 1029042 w 7839417"/>
                <a:gd name="connsiteY15" fmla="*/ 3095625 h 3276600"/>
                <a:gd name="connsiteX16" fmla="*/ 848067 w 7839417"/>
                <a:gd name="connsiteY16" fmla="*/ 3086100 h 3276600"/>
                <a:gd name="connsiteX17" fmla="*/ 819492 w 7839417"/>
                <a:gd name="connsiteY17" fmla="*/ 3076575 h 3276600"/>
                <a:gd name="connsiteX18" fmla="*/ 619467 w 7839417"/>
                <a:gd name="connsiteY18" fmla="*/ 3057525 h 3276600"/>
                <a:gd name="connsiteX19" fmla="*/ 524217 w 7839417"/>
                <a:gd name="connsiteY19" fmla="*/ 3028950 h 3276600"/>
                <a:gd name="connsiteX20" fmla="*/ 495642 w 7839417"/>
                <a:gd name="connsiteY20" fmla="*/ 3019425 h 3276600"/>
                <a:gd name="connsiteX21" fmla="*/ 467067 w 7839417"/>
                <a:gd name="connsiteY21" fmla="*/ 3009900 h 3276600"/>
                <a:gd name="connsiteX22" fmla="*/ 400392 w 7839417"/>
                <a:gd name="connsiteY22" fmla="*/ 2971800 h 3276600"/>
                <a:gd name="connsiteX23" fmla="*/ 343242 w 7839417"/>
                <a:gd name="connsiteY23" fmla="*/ 2952750 h 3276600"/>
                <a:gd name="connsiteX24" fmla="*/ 257517 w 7839417"/>
                <a:gd name="connsiteY24" fmla="*/ 2914650 h 3276600"/>
                <a:gd name="connsiteX25" fmla="*/ 228942 w 7839417"/>
                <a:gd name="connsiteY25" fmla="*/ 2905125 h 3276600"/>
                <a:gd name="connsiteX26" fmla="*/ 162267 w 7839417"/>
                <a:gd name="connsiteY26" fmla="*/ 2857500 h 3276600"/>
                <a:gd name="connsiteX27" fmla="*/ 133692 w 7839417"/>
                <a:gd name="connsiteY27" fmla="*/ 2847975 h 3276600"/>
                <a:gd name="connsiteX28" fmla="*/ 67017 w 7839417"/>
                <a:gd name="connsiteY28" fmla="*/ 2819400 h 3276600"/>
                <a:gd name="connsiteX29" fmla="*/ 342 w 7839417"/>
                <a:gd name="connsiteY29" fmla="*/ 2752725 h 3276600"/>
                <a:gd name="connsiteX30" fmla="*/ 342 w 7839417"/>
                <a:gd name="connsiteY30" fmla="*/ 2743200 h 3276600"/>
                <a:gd name="connsiteX31" fmla="*/ 9867 w 7839417"/>
                <a:gd name="connsiteY31" fmla="*/ 0 h 3276600"/>
                <a:gd name="connsiteX32" fmla="*/ 9867 w 7839417"/>
                <a:gd name="connsiteY32" fmla="*/ 0 h 3276600"/>
                <a:gd name="connsiteX33" fmla="*/ 9867 w 7839417"/>
                <a:gd name="connsiteY33" fmla="*/ 0 h 3276600"/>
                <a:gd name="connsiteX0" fmla="*/ 76542 w 7839417"/>
                <a:gd name="connsiteY0" fmla="*/ 0 h 3335255"/>
                <a:gd name="connsiteX1" fmla="*/ 7839417 w 7839417"/>
                <a:gd name="connsiteY1" fmla="*/ 0 h 3335255"/>
                <a:gd name="connsiteX2" fmla="*/ 6372567 w 7839417"/>
                <a:gd name="connsiteY2" fmla="*/ 1628775 h 3335255"/>
                <a:gd name="connsiteX3" fmla="*/ 5239092 w 7839417"/>
                <a:gd name="connsiteY3" fmla="*/ 1628775 h 3335255"/>
                <a:gd name="connsiteX4" fmla="*/ 4581867 w 7839417"/>
                <a:gd name="connsiteY4" fmla="*/ 2390775 h 3335255"/>
                <a:gd name="connsiteX5" fmla="*/ 2029167 w 7839417"/>
                <a:gd name="connsiteY5" fmla="*/ 3267075 h 3335255"/>
                <a:gd name="connsiteX6" fmla="*/ 1972017 w 7839417"/>
                <a:gd name="connsiteY6" fmla="*/ 3276600 h 3335255"/>
                <a:gd name="connsiteX7" fmla="*/ 1676742 w 7839417"/>
                <a:gd name="connsiteY7" fmla="*/ 3267075 h 3335255"/>
                <a:gd name="connsiteX8" fmla="*/ 1543392 w 7839417"/>
                <a:gd name="connsiteY8" fmla="*/ 3248025 h 3335255"/>
                <a:gd name="connsiteX9" fmla="*/ 1486242 w 7839417"/>
                <a:gd name="connsiteY9" fmla="*/ 3228975 h 3335255"/>
                <a:gd name="connsiteX10" fmla="*/ 1362417 w 7839417"/>
                <a:gd name="connsiteY10" fmla="*/ 3219450 h 3335255"/>
                <a:gd name="connsiteX11" fmla="*/ 1286217 w 7839417"/>
                <a:gd name="connsiteY11" fmla="*/ 3200400 h 3335255"/>
                <a:gd name="connsiteX12" fmla="*/ 1210017 w 7839417"/>
                <a:gd name="connsiteY12" fmla="*/ 3171825 h 3335255"/>
                <a:gd name="connsiteX13" fmla="*/ 1114767 w 7839417"/>
                <a:gd name="connsiteY13" fmla="*/ 3143250 h 3335255"/>
                <a:gd name="connsiteX14" fmla="*/ 1057617 w 7839417"/>
                <a:gd name="connsiteY14" fmla="*/ 3114675 h 3335255"/>
                <a:gd name="connsiteX15" fmla="*/ 1029042 w 7839417"/>
                <a:gd name="connsiteY15" fmla="*/ 3095625 h 3335255"/>
                <a:gd name="connsiteX16" fmla="*/ 848067 w 7839417"/>
                <a:gd name="connsiteY16" fmla="*/ 3086100 h 3335255"/>
                <a:gd name="connsiteX17" fmla="*/ 819492 w 7839417"/>
                <a:gd name="connsiteY17" fmla="*/ 3076575 h 3335255"/>
                <a:gd name="connsiteX18" fmla="*/ 619467 w 7839417"/>
                <a:gd name="connsiteY18" fmla="*/ 3057525 h 3335255"/>
                <a:gd name="connsiteX19" fmla="*/ 524217 w 7839417"/>
                <a:gd name="connsiteY19" fmla="*/ 3028950 h 3335255"/>
                <a:gd name="connsiteX20" fmla="*/ 495642 w 7839417"/>
                <a:gd name="connsiteY20" fmla="*/ 3019425 h 3335255"/>
                <a:gd name="connsiteX21" fmla="*/ 467067 w 7839417"/>
                <a:gd name="connsiteY21" fmla="*/ 3009900 h 3335255"/>
                <a:gd name="connsiteX22" fmla="*/ 400392 w 7839417"/>
                <a:gd name="connsiteY22" fmla="*/ 2971800 h 3335255"/>
                <a:gd name="connsiteX23" fmla="*/ 343242 w 7839417"/>
                <a:gd name="connsiteY23" fmla="*/ 2952750 h 3335255"/>
                <a:gd name="connsiteX24" fmla="*/ 257517 w 7839417"/>
                <a:gd name="connsiteY24" fmla="*/ 2914650 h 3335255"/>
                <a:gd name="connsiteX25" fmla="*/ 228942 w 7839417"/>
                <a:gd name="connsiteY25" fmla="*/ 2905125 h 3335255"/>
                <a:gd name="connsiteX26" fmla="*/ 162267 w 7839417"/>
                <a:gd name="connsiteY26" fmla="*/ 2857500 h 3335255"/>
                <a:gd name="connsiteX27" fmla="*/ 133692 w 7839417"/>
                <a:gd name="connsiteY27" fmla="*/ 2847975 h 3335255"/>
                <a:gd name="connsiteX28" fmla="*/ 67017 w 7839417"/>
                <a:gd name="connsiteY28" fmla="*/ 2819400 h 3335255"/>
                <a:gd name="connsiteX29" fmla="*/ 342 w 7839417"/>
                <a:gd name="connsiteY29" fmla="*/ 2752725 h 3335255"/>
                <a:gd name="connsiteX30" fmla="*/ 342 w 7839417"/>
                <a:gd name="connsiteY30" fmla="*/ 2743200 h 3335255"/>
                <a:gd name="connsiteX31" fmla="*/ 9867 w 7839417"/>
                <a:gd name="connsiteY31" fmla="*/ 0 h 3335255"/>
                <a:gd name="connsiteX32" fmla="*/ 9867 w 7839417"/>
                <a:gd name="connsiteY32" fmla="*/ 0 h 3335255"/>
                <a:gd name="connsiteX33" fmla="*/ 9867 w 7839417"/>
                <a:gd name="connsiteY33" fmla="*/ 0 h 3335255"/>
                <a:gd name="connsiteX0" fmla="*/ 76542 w 7839417"/>
                <a:gd name="connsiteY0" fmla="*/ 0 h 3335255"/>
                <a:gd name="connsiteX1" fmla="*/ 7839417 w 7839417"/>
                <a:gd name="connsiteY1" fmla="*/ 0 h 3335255"/>
                <a:gd name="connsiteX2" fmla="*/ 6372567 w 7839417"/>
                <a:gd name="connsiteY2" fmla="*/ 1628775 h 3335255"/>
                <a:gd name="connsiteX3" fmla="*/ 5239092 w 7839417"/>
                <a:gd name="connsiteY3" fmla="*/ 1628775 h 3335255"/>
                <a:gd name="connsiteX4" fmla="*/ 4581867 w 7839417"/>
                <a:gd name="connsiteY4" fmla="*/ 2390775 h 3335255"/>
                <a:gd name="connsiteX5" fmla="*/ 2029167 w 7839417"/>
                <a:gd name="connsiteY5" fmla="*/ 3267075 h 3335255"/>
                <a:gd name="connsiteX6" fmla="*/ 1972017 w 7839417"/>
                <a:gd name="connsiteY6" fmla="*/ 3276600 h 3335255"/>
                <a:gd name="connsiteX7" fmla="*/ 1676742 w 7839417"/>
                <a:gd name="connsiteY7" fmla="*/ 3267075 h 3335255"/>
                <a:gd name="connsiteX8" fmla="*/ 1543392 w 7839417"/>
                <a:gd name="connsiteY8" fmla="*/ 3248025 h 3335255"/>
                <a:gd name="connsiteX9" fmla="*/ 1486242 w 7839417"/>
                <a:gd name="connsiteY9" fmla="*/ 3228975 h 3335255"/>
                <a:gd name="connsiteX10" fmla="*/ 1362417 w 7839417"/>
                <a:gd name="connsiteY10" fmla="*/ 3219450 h 3335255"/>
                <a:gd name="connsiteX11" fmla="*/ 1286217 w 7839417"/>
                <a:gd name="connsiteY11" fmla="*/ 3200400 h 3335255"/>
                <a:gd name="connsiteX12" fmla="*/ 1210017 w 7839417"/>
                <a:gd name="connsiteY12" fmla="*/ 3171825 h 3335255"/>
                <a:gd name="connsiteX13" fmla="*/ 1114767 w 7839417"/>
                <a:gd name="connsiteY13" fmla="*/ 3143250 h 3335255"/>
                <a:gd name="connsiteX14" fmla="*/ 1057617 w 7839417"/>
                <a:gd name="connsiteY14" fmla="*/ 3114675 h 3335255"/>
                <a:gd name="connsiteX15" fmla="*/ 1029042 w 7839417"/>
                <a:gd name="connsiteY15" fmla="*/ 3095625 h 3335255"/>
                <a:gd name="connsiteX16" fmla="*/ 848067 w 7839417"/>
                <a:gd name="connsiteY16" fmla="*/ 3086100 h 3335255"/>
                <a:gd name="connsiteX17" fmla="*/ 819492 w 7839417"/>
                <a:gd name="connsiteY17" fmla="*/ 3076575 h 3335255"/>
                <a:gd name="connsiteX18" fmla="*/ 619467 w 7839417"/>
                <a:gd name="connsiteY18" fmla="*/ 3057525 h 3335255"/>
                <a:gd name="connsiteX19" fmla="*/ 524217 w 7839417"/>
                <a:gd name="connsiteY19" fmla="*/ 3028950 h 3335255"/>
                <a:gd name="connsiteX20" fmla="*/ 495642 w 7839417"/>
                <a:gd name="connsiteY20" fmla="*/ 3019425 h 3335255"/>
                <a:gd name="connsiteX21" fmla="*/ 467067 w 7839417"/>
                <a:gd name="connsiteY21" fmla="*/ 3009900 h 3335255"/>
                <a:gd name="connsiteX22" fmla="*/ 400392 w 7839417"/>
                <a:gd name="connsiteY22" fmla="*/ 2971800 h 3335255"/>
                <a:gd name="connsiteX23" fmla="*/ 343242 w 7839417"/>
                <a:gd name="connsiteY23" fmla="*/ 2952750 h 3335255"/>
                <a:gd name="connsiteX24" fmla="*/ 257517 w 7839417"/>
                <a:gd name="connsiteY24" fmla="*/ 2914650 h 3335255"/>
                <a:gd name="connsiteX25" fmla="*/ 228942 w 7839417"/>
                <a:gd name="connsiteY25" fmla="*/ 2905125 h 3335255"/>
                <a:gd name="connsiteX26" fmla="*/ 162267 w 7839417"/>
                <a:gd name="connsiteY26" fmla="*/ 2857500 h 3335255"/>
                <a:gd name="connsiteX27" fmla="*/ 133692 w 7839417"/>
                <a:gd name="connsiteY27" fmla="*/ 2847975 h 3335255"/>
                <a:gd name="connsiteX28" fmla="*/ 67017 w 7839417"/>
                <a:gd name="connsiteY28" fmla="*/ 2819400 h 3335255"/>
                <a:gd name="connsiteX29" fmla="*/ 342 w 7839417"/>
                <a:gd name="connsiteY29" fmla="*/ 2752725 h 3335255"/>
                <a:gd name="connsiteX30" fmla="*/ 342 w 7839417"/>
                <a:gd name="connsiteY30" fmla="*/ 2743200 h 3335255"/>
                <a:gd name="connsiteX31" fmla="*/ 9867 w 7839417"/>
                <a:gd name="connsiteY31" fmla="*/ 0 h 3335255"/>
                <a:gd name="connsiteX32" fmla="*/ 9867 w 7839417"/>
                <a:gd name="connsiteY32" fmla="*/ 0 h 3335255"/>
                <a:gd name="connsiteX33" fmla="*/ 9867 w 7839417"/>
                <a:gd name="connsiteY33" fmla="*/ 0 h 3335255"/>
                <a:gd name="connsiteX0" fmla="*/ 81138 w 7844013"/>
                <a:gd name="connsiteY0" fmla="*/ 0 h 3335255"/>
                <a:gd name="connsiteX1" fmla="*/ 7844013 w 7844013"/>
                <a:gd name="connsiteY1" fmla="*/ 0 h 3335255"/>
                <a:gd name="connsiteX2" fmla="*/ 6377163 w 7844013"/>
                <a:gd name="connsiteY2" fmla="*/ 1628775 h 3335255"/>
                <a:gd name="connsiteX3" fmla="*/ 5243688 w 7844013"/>
                <a:gd name="connsiteY3" fmla="*/ 1628775 h 3335255"/>
                <a:gd name="connsiteX4" fmla="*/ 4586463 w 7844013"/>
                <a:gd name="connsiteY4" fmla="*/ 2390775 h 3335255"/>
                <a:gd name="connsiteX5" fmla="*/ 2033763 w 7844013"/>
                <a:gd name="connsiteY5" fmla="*/ 3267075 h 3335255"/>
                <a:gd name="connsiteX6" fmla="*/ 1976613 w 7844013"/>
                <a:gd name="connsiteY6" fmla="*/ 3276600 h 3335255"/>
                <a:gd name="connsiteX7" fmla="*/ 1681338 w 7844013"/>
                <a:gd name="connsiteY7" fmla="*/ 3267075 h 3335255"/>
                <a:gd name="connsiteX8" fmla="*/ 1547988 w 7844013"/>
                <a:gd name="connsiteY8" fmla="*/ 3248025 h 3335255"/>
                <a:gd name="connsiteX9" fmla="*/ 1490838 w 7844013"/>
                <a:gd name="connsiteY9" fmla="*/ 3228975 h 3335255"/>
                <a:gd name="connsiteX10" fmla="*/ 1367013 w 7844013"/>
                <a:gd name="connsiteY10" fmla="*/ 3219450 h 3335255"/>
                <a:gd name="connsiteX11" fmla="*/ 1290813 w 7844013"/>
                <a:gd name="connsiteY11" fmla="*/ 3200400 h 3335255"/>
                <a:gd name="connsiteX12" fmla="*/ 1214613 w 7844013"/>
                <a:gd name="connsiteY12" fmla="*/ 3171825 h 3335255"/>
                <a:gd name="connsiteX13" fmla="*/ 1119363 w 7844013"/>
                <a:gd name="connsiteY13" fmla="*/ 3143250 h 3335255"/>
                <a:gd name="connsiteX14" fmla="*/ 1062213 w 7844013"/>
                <a:gd name="connsiteY14" fmla="*/ 3114675 h 3335255"/>
                <a:gd name="connsiteX15" fmla="*/ 1033638 w 7844013"/>
                <a:gd name="connsiteY15" fmla="*/ 3095625 h 3335255"/>
                <a:gd name="connsiteX16" fmla="*/ 852663 w 7844013"/>
                <a:gd name="connsiteY16" fmla="*/ 3086100 h 3335255"/>
                <a:gd name="connsiteX17" fmla="*/ 824088 w 7844013"/>
                <a:gd name="connsiteY17" fmla="*/ 3076575 h 3335255"/>
                <a:gd name="connsiteX18" fmla="*/ 624063 w 7844013"/>
                <a:gd name="connsiteY18" fmla="*/ 3057525 h 3335255"/>
                <a:gd name="connsiteX19" fmla="*/ 528813 w 7844013"/>
                <a:gd name="connsiteY19" fmla="*/ 3028950 h 3335255"/>
                <a:gd name="connsiteX20" fmla="*/ 500238 w 7844013"/>
                <a:gd name="connsiteY20" fmla="*/ 3019425 h 3335255"/>
                <a:gd name="connsiteX21" fmla="*/ 471663 w 7844013"/>
                <a:gd name="connsiteY21" fmla="*/ 3009900 h 3335255"/>
                <a:gd name="connsiteX22" fmla="*/ 404988 w 7844013"/>
                <a:gd name="connsiteY22" fmla="*/ 2971800 h 3335255"/>
                <a:gd name="connsiteX23" fmla="*/ 347838 w 7844013"/>
                <a:gd name="connsiteY23" fmla="*/ 2952750 h 3335255"/>
                <a:gd name="connsiteX24" fmla="*/ 262113 w 7844013"/>
                <a:gd name="connsiteY24" fmla="*/ 2914650 h 3335255"/>
                <a:gd name="connsiteX25" fmla="*/ 233538 w 7844013"/>
                <a:gd name="connsiteY25" fmla="*/ 2905125 h 3335255"/>
                <a:gd name="connsiteX26" fmla="*/ 166863 w 7844013"/>
                <a:gd name="connsiteY26" fmla="*/ 2857500 h 3335255"/>
                <a:gd name="connsiteX27" fmla="*/ 138288 w 7844013"/>
                <a:gd name="connsiteY27" fmla="*/ 2847975 h 3335255"/>
                <a:gd name="connsiteX28" fmla="*/ 71613 w 7844013"/>
                <a:gd name="connsiteY28" fmla="*/ 2819400 h 3335255"/>
                <a:gd name="connsiteX29" fmla="*/ 4938 w 7844013"/>
                <a:gd name="connsiteY29" fmla="*/ 2752725 h 3335255"/>
                <a:gd name="connsiteX30" fmla="*/ 4938 w 7844013"/>
                <a:gd name="connsiteY30" fmla="*/ 2743200 h 3335255"/>
                <a:gd name="connsiteX31" fmla="*/ 14463 w 7844013"/>
                <a:gd name="connsiteY31" fmla="*/ 0 h 3335255"/>
                <a:gd name="connsiteX32" fmla="*/ 14463 w 7844013"/>
                <a:gd name="connsiteY32" fmla="*/ 0 h 3335255"/>
                <a:gd name="connsiteX33" fmla="*/ 14463 w 7844013"/>
                <a:gd name="connsiteY33" fmla="*/ 0 h 3335255"/>
                <a:gd name="connsiteX0" fmla="*/ 81138 w 7844013"/>
                <a:gd name="connsiteY0" fmla="*/ 0 h 3335255"/>
                <a:gd name="connsiteX1" fmla="*/ 7844013 w 7844013"/>
                <a:gd name="connsiteY1" fmla="*/ 0 h 3335255"/>
                <a:gd name="connsiteX2" fmla="*/ 6377163 w 7844013"/>
                <a:gd name="connsiteY2" fmla="*/ 1628775 h 3335255"/>
                <a:gd name="connsiteX3" fmla="*/ 5243688 w 7844013"/>
                <a:gd name="connsiteY3" fmla="*/ 1628775 h 3335255"/>
                <a:gd name="connsiteX4" fmla="*/ 4586463 w 7844013"/>
                <a:gd name="connsiteY4" fmla="*/ 2390775 h 3335255"/>
                <a:gd name="connsiteX5" fmla="*/ 2033763 w 7844013"/>
                <a:gd name="connsiteY5" fmla="*/ 3267075 h 3335255"/>
                <a:gd name="connsiteX6" fmla="*/ 1976613 w 7844013"/>
                <a:gd name="connsiteY6" fmla="*/ 3276600 h 3335255"/>
                <a:gd name="connsiteX7" fmla="*/ 1681338 w 7844013"/>
                <a:gd name="connsiteY7" fmla="*/ 3267075 h 3335255"/>
                <a:gd name="connsiteX8" fmla="*/ 1547988 w 7844013"/>
                <a:gd name="connsiteY8" fmla="*/ 3248025 h 3335255"/>
                <a:gd name="connsiteX9" fmla="*/ 1490838 w 7844013"/>
                <a:gd name="connsiteY9" fmla="*/ 3228975 h 3335255"/>
                <a:gd name="connsiteX10" fmla="*/ 1367013 w 7844013"/>
                <a:gd name="connsiteY10" fmla="*/ 3219450 h 3335255"/>
                <a:gd name="connsiteX11" fmla="*/ 1290813 w 7844013"/>
                <a:gd name="connsiteY11" fmla="*/ 3200400 h 3335255"/>
                <a:gd name="connsiteX12" fmla="*/ 1214613 w 7844013"/>
                <a:gd name="connsiteY12" fmla="*/ 3171825 h 3335255"/>
                <a:gd name="connsiteX13" fmla="*/ 1119363 w 7844013"/>
                <a:gd name="connsiteY13" fmla="*/ 3143250 h 3335255"/>
                <a:gd name="connsiteX14" fmla="*/ 1062213 w 7844013"/>
                <a:gd name="connsiteY14" fmla="*/ 3114675 h 3335255"/>
                <a:gd name="connsiteX15" fmla="*/ 1033638 w 7844013"/>
                <a:gd name="connsiteY15" fmla="*/ 3095625 h 3335255"/>
                <a:gd name="connsiteX16" fmla="*/ 852663 w 7844013"/>
                <a:gd name="connsiteY16" fmla="*/ 3086100 h 3335255"/>
                <a:gd name="connsiteX17" fmla="*/ 824088 w 7844013"/>
                <a:gd name="connsiteY17" fmla="*/ 3076575 h 3335255"/>
                <a:gd name="connsiteX18" fmla="*/ 624063 w 7844013"/>
                <a:gd name="connsiteY18" fmla="*/ 3057525 h 3335255"/>
                <a:gd name="connsiteX19" fmla="*/ 528813 w 7844013"/>
                <a:gd name="connsiteY19" fmla="*/ 3028950 h 3335255"/>
                <a:gd name="connsiteX20" fmla="*/ 500238 w 7844013"/>
                <a:gd name="connsiteY20" fmla="*/ 3019425 h 3335255"/>
                <a:gd name="connsiteX21" fmla="*/ 471663 w 7844013"/>
                <a:gd name="connsiteY21" fmla="*/ 3009900 h 3335255"/>
                <a:gd name="connsiteX22" fmla="*/ 404988 w 7844013"/>
                <a:gd name="connsiteY22" fmla="*/ 2971800 h 3335255"/>
                <a:gd name="connsiteX23" fmla="*/ 347838 w 7844013"/>
                <a:gd name="connsiteY23" fmla="*/ 2952750 h 3335255"/>
                <a:gd name="connsiteX24" fmla="*/ 262113 w 7844013"/>
                <a:gd name="connsiteY24" fmla="*/ 2914650 h 3335255"/>
                <a:gd name="connsiteX25" fmla="*/ 233538 w 7844013"/>
                <a:gd name="connsiteY25" fmla="*/ 2905125 h 3335255"/>
                <a:gd name="connsiteX26" fmla="*/ 166863 w 7844013"/>
                <a:gd name="connsiteY26" fmla="*/ 2857500 h 3335255"/>
                <a:gd name="connsiteX27" fmla="*/ 138288 w 7844013"/>
                <a:gd name="connsiteY27" fmla="*/ 2847975 h 3335255"/>
                <a:gd name="connsiteX28" fmla="*/ 71613 w 7844013"/>
                <a:gd name="connsiteY28" fmla="*/ 2819400 h 3335255"/>
                <a:gd name="connsiteX29" fmla="*/ 4938 w 7844013"/>
                <a:gd name="connsiteY29" fmla="*/ 2752725 h 3335255"/>
                <a:gd name="connsiteX30" fmla="*/ 4938 w 7844013"/>
                <a:gd name="connsiteY30" fmla="*/ 2743200 h 3335255"/>
                <a:gd name="connsiteX31" fmla="*/ 14463 w 7844013"/>
                <a:gd name="connsiteY31" fmla="*/ 0 h 3335255"/>
                <a:gd name="connsiteX32" fmla="*/ 14463 w 7844013"/>
                <a:gd name="connsiteY32" fmla="*/ 0 h 3335255"/>
                <a:gd name="connsiteX33" fmla="*/ 14463 w 7844013"/>
                <a:gd name="connsiteY33" fmla="*/ 0 h 3335255"/>
                <a:gd name="connsiteX0" fmla="*/ 86077 w 7848952"/>
                <a:gd name="connsiteY0" fmla="*/ 0 h 3335255"/>
                <a:gd name="connsiteX1" fmla="*/ 7848952 w 7848952"/>
                <a:gd name="connsiteY1" fmla="*/ 0 h 3335255"/>
                <a:gd name="connsiteX2" fmla="*/ 6382102 w 7848952"/>
                <a:gd name="connsiteY2" fmla="*/ 1628775 h 3335255"/>
                <a:gd name="connsiteX3" fmla="*/ 5248627 w 7848952"/>
                <a:gd name="connsiteY3" fmla="*/ 1628775 h 3335255"/>
                <a:gd name="connsiteX4" fmla="*/ 4591402 w 7848952"/>
                <a:gd name="connsiteY4" fmla="*/ 2390775 h 3335255"/>
                <a:gd name="connsiteX5" fmla="*/ 2038702 w 7848952"/>
                <a:gd name="connsiteY5" fmla="*/ 3267075 h 3335255"/>
                <a:gd name="connsiteX6" fmla="*/ 1981552 w 7848952"/>
                <a:gd name="connsiteY6" fmla="*/ 3276600 h 3335255"/>
                <a:gd name="connsiteX7" fmla="*/ 1686277 w 7848952"/>
                <a:gd name="connsiteY7" fmla="*/ 3267075 h 3335255"/>
                <a:gd name="connsiteX8" fmla="*/ 1552927 w 7848952"/>
                <a:gd name="connsiteY8" fmla="*/ 3248025 h 3335255"/>
                <a:gd name="connsiteX9" fmla="*/ 1495777 w 7848952"/>
                <a:gd name="connsiteY9" fmla="*/ 3228975 h 3335255"/>
                <a:gd name="connsiteX10" fmla="*/ 1371952 w 7848952"/>
                <a:gd name="connsiteY10" fmla="*/ 3219450 h 3335255"/>
                <a:gd name="connsiteX11" fmla="*/ 1295752 w 7848952"/>
                <a:gd name="connsiteY11" fmla="*/ 3200400 h 3335255"/>
                <a:gd name="connsiteX12" fmla="*/ 1219552 w 7848952"/>
                <a:gd name="connsiteY12" fmla="*/ 3171825 h 3335255"/>
                <a:gd name="connsiteX13" fmla="*/ 1124302 w 7848952"/>
                <a:gd name="connsiteY13" fmla="*/ 3143250 h 3335255"/>
                <a:gd name="connsiteX14" fmla="*/ 1067152 w 7848952"/>
                <a:gd name="connsiteY14" fmla="*/ 3114675 h 3335255"/>
                <a:gd name="connsiteX15" fmla="*/ 1038577 w 7848952"/>
                <a:gd name="connsiteY15" fmla="*/ 3095625 h 3335255"/>
                <a:gd name="connsiteX16" fmla="*/ 857602 w 7848952"/>
                <a:gd name="connsiteY16" fmla="*/ 3086100 h 3335255"/>
                <a:gd name="connsiteX17" fmla="*/ 829027 w 7848952"/>
                <a:gd name="connsiteY17" fmla="*/ 3076575 h 3335255"/>
                <a:gd name="connsiteX18" fmla="*/ 629002 w 7848952"/>
                <a:gd name="connsiteY18" fmla="*/ 3057525 h 3335255"/>
                <a:gd name="connsiteX19" fmla="*/ 533752 w 7848952"/>
                <a:gd name="connsiteY19" fmla="*/ 3028950 h 3335255"/>
                <a:gd name="connsiteX20" fmla="*/ 505177 w 7848952"/>
                <a:gd name="connsiteY20" fmla="*/ 3019425 h 3335255"/>
                <a:gd name="connsiteX21" fmla="*/ 476602 w 7848952"/>
                <a:gd name="connsiteY21" fmla="*/ 3009900 h 3335255"/>
                <a:gd name="connsiteX22" fmla="*/ 409927 w 7848952"/>
                <a:gd name="connsiteY22" fmla="*/ 2971800 h 3335255"/>
                <a:gd name="connsiteX23" fmla="*/ 352777 w 7848952"/>
                <a:gd name="connsiteY23" fmla="*/ 2952750 h 3335255"/>
                <a:gd name="connsiteX24" fmla="*/ 267052 w 7848952"/>
                <a:gd name="connsiteY24" fmla="*/ 2914650 h 3335255"/>
                <a:gd name="connsiteX25" fmla="*/ 238477 w 7848952"/>
                <a:gd name="connsiteY25" fmla="*/ 2905125 h 3335255"/>
                <a:gd name="connsiteX26" fmla="*/ 171802 w 7848952"/>
                <a:gd name="connsiteY26" fmla="*/ 2857500 h 3335255"/>
                <a:gd name="connsiteX27" fmla="*/ 143227 w 7848952"/>
                <a:gd name="connsiteY27" fmla="*/ 2847975 h 3335255"/>
                <a:gd name="connsiteX28" fmla="*/ 9877 w 7848952"/>
                <a:gd name="connsiteY28" fmla="*/ 2752725 h 3335255"/>
                <a:gd name="connsiteX29" fmla="*/ 9877 w 7848952"/>
                <a:gd name="connsiteY29" fmla="*/ 2743200 h 3335255"/>
                <a:gd name="connsiteX30" fmla="*/ 19402 w 7848952"/>
                <a:gd name="connsiteY30" fmla="*/ 0 h 3335255"/>
                <a:gd name="connsiteX31" fmla="*/ 19402 w 7848952"/>
                <a:gd name="connsiteY31" fmla="*/ 0 h 3335255"/>
                <a:gd name="connsiteX32" fmla="*/ 19402 w 7848952"/>
                <a:gd name="connsiteY32" fmla="*/ 0 h 3335255"/>
                <a:gd name="connsiteX0" fmla="*/ 86077 w 7848952"/>
                <a:gd name="connsiteY0" fmla="*/ 0 h 3335255"/>
                <a:gd name="connsiteX1" fmla="*/ 7848952 w 7848952"/>
                <a:gd name="connsiteY1" fmla="*/ 0 h 3335255"/>
                <a:gd name="connsiteX2" fmla="*/ 6382102 w 7848952"/>
                <a:gd name="connsiteY2" fmla="*/ 1628775 h 3335255"/>
                <a:gd name="connsiteX3" fmla="*/ 5248627 w 7848952"/>
                <a:gd name="connsiteY3" fmla="*/ 1628775 h 3335255"/>
                <a:gd name="connsiteX4" fmla="*/ 4591402 w 7848952"/>
                <a:gd name="connsiteY4" fmla="*/ 2390775 h 3335255"/>
                <a:gd name="connsiteX5" fmla="*/ 2038702 w 7848952"/>
                <a:gd name="connsiteY5" fmla="*/ 3267075 h 3335255"/>
                <a:gd name="connsiteX6" fmla="*/ 1981552 w 7848952"/>
                <a:gd name="connsiteY6" fmla="*/ 3276600 h 3335255"/>
                <a:gd name="connsiteX7" fmla="*/ 1686277 w 7848952"/>
                <a:gd name="connsiteY7" fmla="*/ 3267075 h 3335255"/>
                <a:gd name="connsiteX8" fmla="*/ 1552927 w 7848952"/>
                <a:gd name="connsiteY8" fmla="*/ 3248025 h 3335255"/>
                <a:gd name="connsiteX9" fmla="*/ 1495777 w 7848952"/>
                <a:gd name="connsiteY9" fmla="*/ 3228975 h 3335255"/>
                <a:gd name="connsiteX10" fmla="*/ 1371952 w 7848952"/>
                <a:gd name="connsiteY10" fmla="*/ 3219450 h 3335255"/>
                <a:gd name="connsiteX11" fmla="*/ 1295752 w 7848952"/>
                <a:gd name="connsiteY11" fmla="*/ 3200400 h 3335255"/>
                <a:gd name="connsiteX12" fmla="*/ 1219552 w 7848952"/>
                <a:gd name="connsiteY12" fmla="*/ 3171825 h 3335255"/>
                <a:gd name="connsiteX13" fmla="*/ 1124302 w 7848952"/>
                <a:gd name="connsiteY13" fmla="*/ 3143250 h 3335255"/>
                <a:gd name="connsiteX14" fmla="*/ 1067152 w 7848952"/>
                <a:gd name="connsiteY14" fmla="*/ 3114675 h 3335255"/>
                <a:gd name="connsiteX15" fmla="*/ 1038577 w 7848952"/>
                <a:gd name="connsiteY15" fmla="*/ 3095625 h 3335255"/>
                <a:gd name="connsiteX16" fmla="*/ 857602 w 7848952"/>
                <a:gd name="connsiteY16" fmla="*/ 3086100 h 3335255"/>
                <a:gd name="connsiteX17" fmla="*/ 829027 w 7848952"/>
                <a:gd name="connsiteY17" fmla="*/ 3076575 h 3335255"/>
                <a:gd name="connsiteX18" fmla="*/ 629002 w 7848952"/>
                <a:gd name="connsiteY18" fmla="*/ 3057525 h 3335255"/>
                <a:gd name="connsiteX19" fmla="*/ 533752 w 7848952"/>
                <a:gd name="connsiteY19" fmla="*/ 3028950 h 3335255"/>
                <a:gd name="connsiteX20" fmla="*/ 505177 w 7848952"/>
                <a:gd name="connsiteY20" fmla="*/ 3019425 h 3335255"/>
                <a:gd name="connsiteX21" fmla="*/ 476602 w 7848952"/>
                <a:gd name="connsiteY21" fmla="*/ 3009900 h 3335255"/>
                <a:gd name="connsiteX22" fmla="*/ 409927 w 7848952"/>
                <a:gd name="connsiteY22" fmla="*/ 2971800 h 3335255"/>
                <a:gd name="connsiteX23" fmla="*/ 352777 w 7848952"/>
                <a:gd name="connsiteY23" fmla="*/ 2952750 h 3335255"/>
                <a:gd name="connsiteX24" fmla="*/ 267052 w 7848952"/>
                <a:gd name="connsiteY24" fmla="*/ 2914650 h 3335255"/>
                <a:gd name="connsiteX25" fmla="*/ 238477 w 7848952"/>
                <a:gd name="connsiteY25" fmla="*/ 2905125 h 3335255"/>
                <a:gd name="connsiteX26" fmla="*/ 171802 w 7848952"/>
                <a:gd name="connsiteY26" fmla="*/ 2857500 h 3335255"/>
                <a:gd name="connsiteX27" fmla="*/ 143227 w 7848952"/>
                <a:gd name="connsiteY27" fmla="*/ 2847975 h 3335255"/>
                <a:gd name="connsiteX28" fmla="*/ 9877 w 7848952"/>
                <a:gd name="connsiteY28" fmla="*/ 2752725 h 3335255"/>
                <a:gd name="connsiteX29" fmla="*/ 9877 w 7848952"/>
                <a:gd name="connsiteY29" fmla="*/ 2743200 h 3335255"/>
                <a:gd name="connsiteX30" fmla="*/ 19402 w 7848952"/>
                <a:gd name="connsiteY30" fmla="*/ 0 h 3335255"/>
                <a:gd name="connsiteX31" fmla="*/ 19402 w 7848952"/>
                <a:gd name="connsiteY31" fmla="*/ 0 h 3335255"/>
                <a:gd name="connsiteX32" fmla="*/ 19402 w 7848952"/>
                <a:gd name="connsiteY32" fmla="*/ 0 h 3335255"/>
                <a:gd name="connsiteX0" fmla="*/ 88194 w 7851069"/>
                <a:gd name="connsiteY0" fmla="*/ 0 h 3335255"/>
                <a:gd name="connsiteX1" fmla="*/ 7851069 w 7851069"/>
                <a:gd name="connsiteY1" fmla="*/ 0 h 3335255"/>
                <a:gd name="connsiteX2" fmla="*/ 6384219 w 7851069"/>
                <a:gd name="connsiteY2" fmla="*/ 1628775 h 3335255"/>
                <a:gd name="connsiteX3" fmla="*/ 5250744 w 7851069"/>
                <a:gd name="connsiteY3" fmla="*/ 1628775 h 3335255"/>
                <a:gd name="connsiteX4" fmla="*/ 4593519 w 7851069"/>
                <a:gd name="connsiteY4" fmla="*/ 2390775 h 3335255"/>
                <a:gd name="connsiteX5" fmla="*/ 2040819 w 7851069"/>
                <a:gd name="connsiteY5" fmla="*/ 3267075 h 3335255"/>
                <a:gd name="connsiteX6" fmla="*/ 1983669 w 7851069"/>
                <a:gd name="connsiteY6" fmla="*/ 3276600 h 3335255"/>
                <a:gd name="connsiteX7" fmla="*/ 1688394 w 7851069"/>
                <a:gd name="connsiteY7" fmla="*/ 3267075 h 3335255"/>
                <a:gd name="connsiteX8" fmla="*/ 1555044 w 7851069"/>
                <a:gd name="connsiteY8" fmla="*/ 3248025 h 3335255"/>
                <a:gd name="connsiteX9" fmla="*/ 1497894 w 7851069"/>
                <a:gd name="connsiteY9" fmla="*/ 3228975 h 3335255"/>
                <a:gd name="connsiteX10" fmla="*/ 1374069 w 7851069"/>
                <a:gd name="connsiteY10" fmla="*/ 3219450 h 3335255"/>
                <a:gd name="connsiteX11" fmla="*/ 1297869 w 7851069"/>
                <a:gd name="connsiteY11" fmla="*/ 3200400 h 3335255"/>
                <a:gd name="connsiteX12" fmla="*/ 1221669 w 7851069"/>
                <a:gd name="connsiteY12" fmla="*/ 3171825 h 3335255"/>
                <a:gd name="connsiteX13" fmla="*/ 1126419 w 7851069"/>
                <a:gd name="connsiteY13" fmla="*/ 3143250 h 3335255"/>
                <a:gd name="connsiteX14" fmla="*/ 1069269 w 7851069"/>
                <a:gd name="connsiteY14" fmla="*/ 3114675 h 3335255"/>
                <a:gd name="connsiteX15" fmla="*/ 1040694 w 7851069"/>
                <a:gd name="connsiteY15" fmla="*/ 3095625 h 3335255"/>
                <a:gd name="connsiteX16" fmla="*/ 859719 w 7851069"/>
                <a:gd name="connsiteY16" fmla="*/ 3086100 h 3335255"/>
                <a:gd name="connsiteX17" fmla="*/ 831144 w 7851069"/>
                <a:gd name="connsiteY17" fmla="*/ 3076575 h 3335255"/>
                <a:gd name="connsiteX18" fmla="*/ 631119 w 7851069"/>
                <a:gd name="connsiteY18" fmla="*/ 3057525 h 3335255"/>
                <a:gd name="connsiteX19" fmla="*/ 535869 w 7851069"/>
                <a:gd name="connsiteY19" fmla="*/ 3028950 h 3335255"/>
                <a:gd name="connsiteX20" fmla="*/ 507294 w 7851069"/>
                <a:gd name="connsiteY20" fmla="*/ 3019425 h 3335255"/>
                <a:gd name="connsiteX21" fmla="*/ 478719 w 7851069"/>
                <a:gd name="connsiteY21" fmla="*/ 3009900 h 3335255"/>
                <a:gd name="connsiteX22" fmla="*/ 412044 w 7851069"/>
                <a:gd name="connsiteY22" fmla="*/ 2971800 h 3335255"/>
                <a:gd name="connsiteX23" fmla="*/ 354894 w 7851069"/>
                <a:gd name="connsiteY23" fmla="*/ 2952750 h 3335255"/>
                <a:gd name="connsiteX24" fmla="*/ 269169 w 7851069"/>
                <a:gd name="connsiteY24" fmla="*/ 2914650 h 3335255"/>
                <a:gd name="connsiteX25" fmla="*/ 240594 w 7851069"/>
                <a:gd name="connsiteY25" fmla="*/ 2905125 h 3335255"/>
                <a:gd name="connsiteX26" fmla="*/ 173919 w 7851069"/>
                <a:gd name="connsiteY26" fmla="*/ 2857500 h 3335255"/>
                <a:gd name="connsiteX27" fmla="*/ 11994 w 7851069"/>
                <a:gd name="connsiteY27" fmla="*/ 2752725 h 3335255"/>
                <a:gd name="connsiteX28" fmla="*/ 11994 w 7851069"/>
                <a:gd name="connsiteY28" fmla="*/ 2743200 h 3335255"/>
                <a:gd name="connsiteX29" fmla="*/ 21519 w 7851069"/>
                <a:gd name="connsiteY29" fmla="*/ 0 h 3335255"/>
                <a:gd name="connsiteX30" fmla="*/ 21519 w 7851069"/>
                <a:gd name="connsiteY30" fmla="*/ 0 h 3335255"/>
                <a:gd name="connsiteX31" fmla="*/ 21519 w 7851069"/>
                <a:gd name="connsiteY31" fmla="*/ 0 h 3335255"/>
                <a:gd name="connsiteX0" fmla="*/ 88194 w 7851069"/>
                <a:gd name="connsiteY0" fmla="*/ 0 h 3335255"/>
                <a:gd name="connsiteX1" fmla="*/ 7851069 w 7851069"/>
                <a:gd name="connsiteY1" fmla="*/ 0 h 3335255"/>
                <a:gd name="connsiteX2" fmla="*/ 6384219 w 7851069"/>
                <a:gd name="connsiteY2" fmla="*/ 1628775 h 3335255"/>
                <a:gd name="connsiteX3" fmla="*/ 5250744 w 7851069"/>
                <a:gd name="connsiteY3" fmla="*/ 1628775 h 3335255"/>
                <a:gd name="connsiteX4" fmla="*/ 4593519 w 7851069"/>
                <a:gd name="connsiteY4" fmla="*/ 2390775 h 3335255"/>
                <a:gd name="connsiteX5" fmla="*/ 2040819 w 7851069"/>
                <a:gd name="connsiteY5" fmla="*/ 3267075 h 3335255"/>
                <a:gd name="connsiteX6" fmla="*/ 1983669 w 7851069"/>
                <a:gd name="connsiteY6" fmla="*/ 3276600 h 3335255"/>
                <a:gd name="connsiteX7" fmla="*/ 1688394 w 7851069"/>
                <a:gd name="connsiteY7" fmla="*/ 3267075 h 3335255"/>
                <a:gd name="connsiteX8" fmla="*/ 1555044 w 7851069"/>
                <a:gd name="connsiteY8" fmla="*/ 3248025 h 3335255"/>
                <a:gd name="connsiteX9" fmla="*/ 1497894 w 7851069"/>
                <a:gd name="connsiteY9" fmla="*/ 3228975 h 3335255"/>
                <a:gd name="connsiteX10" fmla="*/ 1374069 w 7851069"/>
                <a:gd name="connsiteY10" fmla="*/ 3219450 h 3335255"/>
                <a:gd name="connsiteX11" fmla="*/ 1297869 w 7851069"/>
                <a:gd name="connsiteY11" fmla="*/ 3200400 h 3335255"/>
                <a:gd name="connsiteX12" fmla="*/ 1221669 w 7851069"/>
                <a:gd name="connsiteY12" fmla="*/ 3171825 h 3335255"/>
                <a:gd name="connsiteX13" fmla="*/ 1126419 w 7851069"/>
                <a:gd name="connsiteY13" fmla="*/ 3143250 h 3335255"/>
                <a:gd name="connsiteX14" fmla="*/ 1069269 w 7851069"/>
                <a:gd name="connsiteY14" fmla="*/ 3114675 h 3335255"/>
                <a:gd name="connsiteX15" fmla="*/ 1040694 w 7851069"/>
                <a:gd name="connsiteY15" fmla="*/ 3095625 h 3335255"/>
                <a:gd name="connsiteX16" fmla="*/ 859719 w 7851069"/>
                <a:gd name="connsiteY16" fmla="*/ 3086100 h 3335255"/>
                <a:gd name="connsiteX17" fmla="*/ 831144 w 7851069"/>
                <a:gd name="connsiteY17" fmla="*/ 3076575 h 3335255"/>
                <a:gd name="connsiteX18" fmla="*/ 631119 w 7851069"/>
                <a:gd name="connsiteY18" fmla="*/ 3057525 h 3335255"/>
                <a:gd name="connsiteX19" fmla="*/ 535869 w 7851069"/>
                <a:gd name="connsiteY19" fmla="*/ 3028950 h 3335255"/>
                <a:gd name="connsiteX20" fmla="*/ 507294 w 7851069"/>
                <a:gd name="connsiteY20" fmla="*/ 3019425 h 3335255"/>
                <a:gd name="connsiteX21" fmla="*/ 478719 w 7851069"/>
                <a:gd name="connsiteY21" fmla="*/ 3009900 h 3335255"/>
                <a:gd name="connsiteX22" fmla="*/ 412044 w 7851069"/>
                <a:gd name="connsiteY22" fmla="*/ 2971800 h 3335255"/>
                <a:gd name="connsiteX23" fmla="*/ 354894 w 7851069"/>
                <a:gd name="connsiteY23" fmla="*/ 2952750 h 3335255"/>
                <a:gd name="connsiteX24" fmla="*/ 269169 w 7851069"/>
                <a:gd name="connsiteY24" fmla="*/ 2914650 h 3335255"/>
                <a:gd name="connsiteX25" fmla="*/ 173919 w 7851069"/>
                <a:gd name="connsiteY25" fmla="*/ 2857500 h 3335255"/>
                <a:gd name="connsiteX26" fmla="*/ 11994 w 7851069"/>
                <a:gd name="connsiteY26" fmla="*/ 2752725 h 3335255"/>
                <a:gd name="connsiteX27" fmla="*/ 11994 w 7851069"/>
                <a:gd name="connsiteY27" fmla="*/ 2743200 h 3335255"/>
                <a:gd name="connsiteX28" fmla="*/ 21519 w 7851069"/>
                <a:gd name="connsiteY28" fmla="*/ 0 h 3335255"/>
                <a:gd name="connsiteX29" fmla="*/ 21519 w 7851069"/>
                <a:gd name="connsiteY29" fmla="*/ 0 h 3335255"/>
                <a:gd name="connsiteX30" fmla="*/ 21519 w 7851069"/>
                <a:gd name="connsiteY30" fmla="*/ 0 h 3335255"/>
                <a:gd name="connsiteX0" fmla="*/ 95249 w 7858124"/>
                <a:gd name="connsiteY0" fmla="*/ 0 h 3335255"/>
                <a:gd name="connsiteX1" fmla="*/ 7858124 w 7858124"/>
                <a:gd name="connsiteY1" fmla="*/ 0 h 3335255"/>
                <a:gd name="connsiteX2" fmla="*/ 6391274 w 7858124"/>
                <a:gd name="connsiteY2" fmla="*/ 1628775 h 3335255"/>
                <a:gd name="connsiteX3" fmla="*/ 5257799 w 7858124"/>
                <a:gd name="connsiteY3" fmla="*/ 1628775 h 3335255"/>
                <a:gd name="connsiteX4" fmla="*/ 4600574 w 7858124"/>
                <a:gd name="connsiteY4" fmla="*/ 2390775 h 3335255"/>
                <a:gd name="connsiteX5" fmla="*/ 2047874 w 7858124"/>
                <a:gd name="connsiteY5" fmla="*/ 3267075 h 3335255"/>
                <a:gd name="connsiteX6" fmla="*/ 1990724 w 7858124"/>
                <a:gd name="connsiteY6" fmla="*/ 3276600 h 3335255"/>
                <a:gd name="connsiteX7" fmla="*/ 1695449 w 7858124"/>
                <a:gd name="connsiteY7" fmla="*/ 3267075 h 3335255"/>
                <a:gd name="connsiteX8" fmla="*/ 1562099 w 7858124"/>
                <a:gd name="connsiteY8" fmla="*/ 3248025 h 3335255"/>
                <a:gd name="connsiteX9" fmla="*/ 1504949 w 7858124"/>
                <a:gd name="connsiteY9" fmla="*/ 3228975 h 3335255"/>
                <a:gd name="connsiteX10" fmla="*/ 1381124 w 7858124"/>
                <a:gd name="connsiteY10" fmla="*/ 3219450 h 3335255"/>
                <a:gd name="connsiteX11" fmla="*/ 1304924 w 7858124"/>
                <a:gd name="connsiteY11" fmla="*/ 3200400 h 3335255"/>
                <a:gd name="connsiteX12" fmla="*/ 1228724 w 7858124"/>
                <a:gd name="connsiteY12" fmla="*/ 3171825 h 3335255"/>
                <a:gd name="connsiteX13" fmla="*/ 1133474 w 7858124"/>
                <a:gd name="connsiteY13" fmla="*/ 3143250 h 3335255"/>
                <a:gd name="connsiteX14" fmla="*/ 1076324 w 7858124"/>
                <a:gd name="connsiteY14" fmla="*/ 3114675 h 3335255"/>
                <a:gd name="connsiteX15" fmla="*/ 1047749 w 7858124"/>
                <a:gd name="connsiteY15" fmla="*/ 3095625 h 3335255"/>
                <a:gd name="connsiteX16" fmla="*/ 866774 w 7858124"/>
                <a:gd name="connsiteY16" fmla="*/ 3086100 h 3335255"/>
                <a:gd name="connsiteX17" fmla="*/ 838199 w 7858124"/>
                <a:gd name="connsiteY17" fmla="*/ 3076575 h 3335255"/>
                <a:gd name="connsiteX18" fmla="*/ 638174 w 7858124"/>
                <a:gd name="connsiteY18" fmla="*/ 3057525 h 3335255"/>
                <a:gd name="connsiteX19" fmla="*/ 542924 w 7858124"/>
                <a:gd name="connsiteY19" fmla="*/ 3028950 h 3335255"/>
                <a:gd name="connsiteX20" fmla="*/ 514349 w 7858124"/>
                <a:gd name="connsiteY20" fmla="*/ 3019425 h 3335255"/>
                <a:gd name="connsiteX21" fmla="*/ 485774 w 7858124"/>
                <a:gd name="connsiteY21" fmla="*/ 3009900 h 3335255"/>
                <a:gd name="connsiteX22" fmla="*/ 419099 w 7858124"/>
                <a:gd name="connsiteY22" fmla="*/ 2971800 h 3335255"/>
                <a:gd name="connsiteX23" fmla="*/ 361949 w 7858124"/>
                <a:gd name="connsiteY23" fmla="*/ 2952750 h 3335255"/>
                <a:gd name="connsiteX24" fmla="*/ 276224 w 7858124"/>
                <a:gd name="connsiteY24" fmla="*/ 2914650 h 3335255"/>
                <a:gd name="connsiteX25" fmla="*/ 19049 w 7858124"/>
                <a:gd name="connsiteY25" fmla="*/ 2752725 h 3335255"/>
                <a:gd name="connsiteX26" fmla="*/ 19049 w 7858124"/>
                <a:gd name="connsiteY26" fmla="*/ 2743200 h 3335255"/>
                <a:gd name="connsiteX27" fmla="*/ 28574 w 7858124"/>
                <a:gd name="connsiteY27" fmla="*/ 0 h 3335255"/>
                <a:gd name="connsiteX28" fmla="*/ 28574 w 7858124"/>
                <a:gd name="connsiteY28" fmla="*/ 0 h 3335255"/>
                <a:gd name="connsiteX29" fmla="*/ 28574 w 7858124"/>
                <a:gd name="connsiteY29" fmla="*/ 0 h 3335255"/>
                <a:gd name="connsiteX0" fmla="*/ 101600 w 7864475"/>
                <a:gd name="connsiteY0" fmla="*/ 0 h 3335255"/>
                <a:gd name="connsiteX1" fmla="*/ 7864475 w 7864475"/>
                <a:gd name="connsiteY1" fmla="*/ 0 h 3335255"/>
                <a:gd name="connsiteX2" fmla="*/ 6397625 w 7864475"/>
                <a:gd name="connsiteY2" fmla="*/ 1628775 h 3335255"/>
                <a:gd name="connsiteX3" fmla="*/ 5264150 w 7864475"/>
                <a:gd name="connsiteY3" fmla="*/ 1628775 h 3335255"/>
                <a:gd name="connsiteX4" fmla="*/ 4606925 w 7864475"/>
                <a:gd name="connsiteY4" fmla="*/ 2390775 h 3335255"/>
                <a:gd name="connsiteX5" fmla="*/ 2054225 w 7864475"/>
                <a:gd name="connsiteY5" fmla="*/ 3267075 h 3335255"/>
                <a:gd name="connsiteX6" fmla="*/ 1997075 w 7864475"/>
                <a:gd name="connsiteY6" fmla="*/ 3276600 h 3335255"/>
                <a:gd name="connsiteX7" fmla="*/ 1701800 w 7864475"/>
                <a:gd name="connsiteY7" fmla="*/ 3267075 h 3335255"/>
                <a:gd name="connsiteX8" fmla="*/ 1568450 w 7864475"/>
                <a:gd name="connsiteY8" fmla="*/ 3248025 h 3335255"/>
                <a:gd name="connsiteX9" fmla="*/ 1511300 w 7864475"/>
                <a:gd name="connsiteY9" fmla="*/ 3228975 h 3335255"/>
                <a:gd name="connsiteX10" fmla="*/ 1387475 w 7864475"/>
                <a:gd name="connsiteY10" fmla="*/ 3219450 h 3335255"/>
                <a:gd name="connsiteX11" fmla="*/ 1311275 w 7864475"/>
                <a:gd name="connsiteY11" fmla="*/ 3200400 h 3335255"/>
                <a:gd name="connsiteX12" fmla="*/ 1235075 w 7864475"/>
                <a:gd name="connsiteY12" fmla="*/ 3171825 h 3335255"/>
                <a:gd name="connsiteX13" fmla="*/ 1139825 w 7864475"/>
                <a:gd name="connsiteY13" fmla="*/ 3143250 h 3335255"/>
                <a:gd name="connsiteX14" fmla="*/ 1082675 w 7864475"/>
                <a:gd name="connsiteY14" fmla="*/ 3114675 h 3335255"/>
                <a:gd name="connsiteX15" fmla="*/ 1054100 w 7864475"/>
                <a:gd name="connsiteY15" fmla="*/ 3095625 h 3335255"/>
                <a:gd name="connsiteX16" fmla="*/ 873125 w 7864475"/>
                <a:gd name="connsiteY16" fmla="*/ 3086100 h 3335255"/>
                <a:gd name="connsiteX17" fmla="*/ 844550 w 7864475"/>
                <a:gd name="connsiteY17" fmla="*/ 3076575 h 3335255"/>
                <a:gd name="connsiteX18" fmla="*/ 644525 w 7864475"/>
                <a:gd name="connsiteY18" fmla="*/ 3057525 h 3335255"/>
                <a:gd name="connsiteX19" fmla="*/ 549275 w 7864475"/>
                <a:gd name="connsiteY19" fmla="*/ 3028950 h 3335255"/>
                <a:gd name="connsiteX20" fmla="*/ 520700 w 7864475"/>
                <a:gd name="connsiteY20" fmla="*/ 3019425 h 3335255"/>
                <a:gd name="connsiteX21" fmla="*/ 492125 w 7864475"/>
                <a:gd name="connsiteY21" fmla="*/ 3009900 h 3335255"/>
                <a:gd name="connsiteX22" fmla="*/ 425450 w 7864475"/>
                <a:gd name="connsiteY22" fmla="*/ 2971800 h 3335255"/>
                <a:gd name="connsiteX23" fmla="*/ 368300 w 7864475"/>
                <a:gd name="connsiteY23" fmla="*/ 2952750 h 3335255"/>
                <a:gd name="connsiteX24" fmla="*/ 25400 w 7864475"/>
                <a:gd name="connsiteY24" fmla="*/ 2752725 h 3335255"/>
                <a:gd name="connsiteX25" fmla="*/ 25400 w 7864475"/>
                <a:gd name="connsiteY25" fmla="*/ 2743200 h 3335255"/>
                <a:gd name="connsiteX26" fmla="*/ 34925 w 7864475"/>
                <a:gd name="connsiteY26" fmla="*/ 0 h 3335255"/>
                <a:gd name="connsiteX27" fmla="*/ 34925 w 7864475"/>
                <a:gd name="connsiteY27" fmla="*/ 0 h 3335255"/>
                <a:gd name="connsiteX28" fmla="*/ 34925 w 7864475"/>
                <a:gd name="connsiteY28" fmla="*/ 0 h 3335255"/>
                <a:gd name="connsiteX0" fmla="*/ 101600 w 7864475"/>
                <a:gd name="connsiteY0" fmla="*/ 0 h 3332697"/>
                <a:gd name="connsiteX1" fmla="*/ 7864475 w 7864475"/>
                <a:gd name="connsiteY1" fmla="*/ 0 h 3332697"/>
                <a:gd name="connsiteX2" fmla="*/ 6397625 w 7864475"/>
                <a:gd name="connsiteY2" fmla="*/ 1628775 h 3332697"/>
                <a:gd name="connsiteX3" fmla="*/ 5264150 w 7864475"/>
                <a:gd name="connsiteY3" fmla="*/ 1628775 h 3332697"/>
                <a:gd name="connsiteX4" fmla="*/ 4606925 w 7864475"/>
                <a:gd name="connsiteY4" fmla="*/ 2390775 h 3332697"/>
                <a:gd name="connsiteX5" fmla="*/ 2054225 w 7864475"/>
                <a:gd name="connsiteY5" fmla="*/ 3267075 h 3332697"/>
                <a:gd name="connsiteX6" fmla="*/ 1701800 w 7864475"/>
                <a:gd name="connsiteY6" fmla="*/ 3267075 h 3332697"/>
                <a:gd name="connsiteX7" fmla="*/ 1568450 w 7864475"/>
                <a:gd name="connsiteY7" fmla="*/ 3248025 h 3332697"/>
                <a:gd name="connsiteX8" fmla="*/ 1511300 w 7864475"/>
                <a:gd name="connsiteY8" fmla="*/ 3228975 h 3332697"/>
                <a:gd name="connsiteX9" fmla="*/ 1387475 w 7864475"/>
                <a:gd name="connsiteY9" fmla="*/ 3219450 h 3332697"/>
                <a:gd name="connsiteX10" fmla="*/ 1311275 w 7864475"/>
                <a:gd name="connsiteY10" fmla="*/ 3200400 h 3332697"/>
                <a:gd name="connsiteX11" fmla="*/ 1235075 w 7864475"/>
                <a:gd name="connsiteY11" fmla="*/ 3171825 h 3332697"/>
                <a:gd name="connsiteX12" fmla="*/ 1139825 w 7864475"/>
                <a:gd name="connsiteY12" fmla="*/ 3143250 h 3332697"/>
                <a:gd name="connsiteX13" fmla="*/ 1082675 w 7864475"/>
                <a:gd name="connsiteY13" fmla="*/ 3114675 h 3332697"/>
                <a:gd name="connsiteX14" fmla="*/ 1054100 w 7864475"/>
                <a:gd name="connsiteY14" fmla="*/ 3095625 h 3332697"/>
                <a:gd name="connsiteX15" fmla="*/ 873125 w 7864475"/>
                <a:gd name="connsiteY15" fmla="*/ 3086100 h 3332697"/>
                <a:gd name="connsiteX16" fmla="*/ 844550 w 7864475"/>
                <a:gd name="connsiteY16" fmla="*/ 3076575 h 3332697"/>
                <a:gd name="connsiteX17" fmla="*/ 644525 w 7864475"/>
                <a:gd name="connsiteY17" fmla="*/ 3057525 h 3332697"/>
                <a:gd name="connsiteX18" fmla="*/ 549275 w 7864475"/>
                <a:gd name="connsiteY18" fmla="*/ 3028950 h 3332697"/>
                <a:gd name="connsiteX19" fmla="*/ 520700 w 7864475"/>
                <a:gd name="connsiteY19" fmla="*/ 3019425 h 3332697"/>
                <a:gd name="connsiteX20" fmla="*/ 492125 w 7864475"/>
                <a:gd name="connsiteY20" fmla="*/ 3009900 h 3332697"/>
                <a:gd name="connsiteX21" fmla="*/ 425450 w 7864475"/>
                <a:gd name="connsiteY21" fmla="*/ 2971800 h 3332697"/>
                <a:gd name="connsiteX22" fmla="*/ 368300 w 7864475"/>
                <a:gd name="connsiteY22" fmla="*/ 2952750 h 3332697"/>
                <a:gd name="connsiteX23" fmla="*/ 25400 w 7864475"/>
                <a:gd name="connsiteY23" fmla="*/ 2752725 h 3332697"/>
                <a:gd name="connsiteX24" fmla="*/ 25400 w 7864475"/>
                <a:gd name="connsiteY24" fmla="*/ 2743200 h 3332697"/>
                <a:gd name="connsiteX25" fmla="*/ 34925 w 7864475"/>
                <a:gd name="connsiteY25" fmla="*/ 0 h 3332697"/>
                <a:gd name="connsiteX26" fmla="*/ 34925 w 7864475"/>
                <a:gd name="connsiteY26" fmla="*/ 0 h 3332697"/>
                <a:gd name="connsiteX27" fmla="*/ 34925 w 7864475"/>
                <a:gd name="connsiteY27" fmla="*/ 0 h 3332697"/>
                <a:gd name="connsiteX0" fmla="*/ 101600 w 7864475"/>
                <a:gd name="connsiteY0" fmla="*/ 0 h 3327245"/>
                <a:gd name="connsiteX1" fmla="*/ 7864475 w 7864475"/>
                <a:gd name="connsiteY1" fmla="*/ 0 h 3327245"/>
                <a:gd name="connsiteX2" fmla="*/ 6397625 w 7864475"/>
                <a:gd name="connsiteY2" fmla="*/ 1628775 h 3327245"/>
                <a:gd name="connsiteX3" fmla="*/ 5264150 w 7864475"/>
                <a:gd name="connsiteY3" fmla="*/ 1628775 h 3327245"/>
                <a:gd name="connsiteX4" fmla="*/ 4606925 w 7864475"/>
                <a:gd name="connsiteY4" fmla="*/ 2390775 h 3327245"/>
                <a:gd name="connsiteX5" fmla="*/ 2054225 w 7864475"/>
                <a:gd name="connsiteY5" fmla="*/ 3267075 h 3327245"/>
                <a:gd name="connsiteX6" fmla="*/ 1568450 w 7864475"/>
                <a:gd name="connsiteY6" fmla="*/ 3248025 h 3327245"/>
                <a:gd name="connsiteX7" fmla="*/ 1511300 w 7864475"/>
                <a:gd name="connsiteY7" fmla="*/ 3228975 h 3327245"/>
                <a:gd name="connsiteX8" fmla="*/ 1387475 w 7864475"/>
                <a:gd name="connsiteY8" fmla="*/ 3219450 h 3327245"/>
                <a:gd name="connsiteX9" fmla="*/ 1311275 w 7864475"/>
                <a:gd name="connsiteY9" fmla="*/ 3200400 h 3327245"/>
                <a:gd name="connsiteX10" fmla="*/ 1235075 w 7864475"/>
                <a:gd name="connsiteY10" fmla="*/ 3171825 h 3327245"/>
                <a:gd name="connsiteX11" fmla="*/ 1139825 w 7864475"/>
                <a:gd name="connsiteY11" fmla="*/ 3143250 h 3327245"/>
                <a:gd name="connsiteX12" fmla="*/ 1082675 w 7864475"/>
                <a:gd name="connsiteY12" fmla="*/ 3114675 h 3327245"/>
                <a:gd name="connsiteX13" fmla="*/ 1054100 w 7864475"/>
                <a:gd name="connsiteY13" fmla="*/ 3095625 h 3327245"/>
                <a:gd name="connsiteX14" fmla="*/ 873125 w 7864475"/>
                <a:gd name="connsiteY14" fmla="*/ 3086100 h 3327245"/>
                <a:gd name="connsiteX15" fmla="*/ 844550 w 7864475"/>
                <a:gd name="connsiteY15" fmla="*/ 3076575 h 3327245"/>
                <a:gd name="connsiteX16" fmla="*/ 644525 w 7864475"/>
                <a:gd name="connsiteY16" fmla="*/ 3057525 h 3327245"/>
                <a:gd name="connsiteX17" fmla="*/ 549275 w 7864475"/>
                <a:gd name="connsiteY17" fmla="*/ 3028950 h 3327245"/>
                <a:gd name="connsiteX18" fmla="*/ 520700 w 7864475"/>
                <a:gd name="connsiteY18" fmla="*/ 3019425 h 3327245"/>
                <a:gd name="connsiteX19" fmla="*/ 492125 w 7864475"/>
                <a:gd name="connsiteY19" fmla="*/ 3009900 h 3327245"/>
                <a:gd name="connsiteX20" fmla="*/ 425450 w 7864475"/>
                <a:gd name="connsiteY20" fmla="*/ 2971800 h 3327245"/>
                <a:gd name="connsiteX21" fmla="*/ 368300 w 7864475"/>
                <a:gd name="connsiteY21" fmla="*/ 2952750 h 3327245"/>
                <a:gd name="connsiteX22" fmla="*/ 25400 w 7864475"/>
                <a:gd name="connsiteY22" fmla="*/ 2752725 h 3327245"/>
                <a:gd name="connsiteX23" fmla="*/ 25400 w 7864475"/>
                <a:gd name="connsiteY23" fmla="*/ 2743200 h 3327245"/>
                <a:gd name="connsiteX24" fmla="*/ 34925 w 7864475"/>
                <a:gd name="connsiteY24" fmla="*/ 0 h 3327245"/>
                <a:gd name="connsiteX25" fmla="*/ 34925 w 7864475"/>
                <a:gd name="connsiteY25" fmla="*/ 0 h 3327245"/>
                <a:gd name="connsiteX26" fmla="*/ 34925 w 7864475"/>
                <a:gd name="connsiteY26" fmla="*/ 0 h 3327245"/>
                <a:gd name="connsiteX0" fmla="*/ 101600 w 7864475"/>
                <a:gd name="connsiteY0" fmla="*/ 0 h 3322010"/>
                <a:gd name="connsiteX1" fmla="*/ 7864475 w 7864475"/>
                <a:gd name="connsiteY1" fmla="*/ 0 h 3322010"/>
                <a:gd name="connsiteX2" fmla="*/ 6397625 w 7864475"/>
                <a:gd name="connsiteY2" fmla="*/ 1628775 h 3322010"/>
                <a:gd name="connsiteX3" fmla="*/ 5264150 w 7864475"/>
                <a:gd name="connsiteY3" fmla="*/ 1628775 h 3322010"/>
                <a:gd name="connsiteX4" fmla="*/ 4606925 w 7864475"/>
                <a:gd name="connsiteY4" fmla="*/ 2390775 h 3322010"/>
                <a:gd name="connsiteX5" fmla="*/ 2054225 w 7864475"/>
                <a:gd name="connsiteY5" fmla="*/ 3267075 h 3322010"/>
                <a:gd name="connsiteX6" fmla="*/ 1511300 w 7864475"/>
                <a:gd name="connsiteY6" fmla="*/ 3228975 h 3322010"/>
                <a:gd name="connsiteX7" fmla="*/ 1387475 w 7864475"/>
                <a:gd name="connsiteY7" fmla="*/ 3219450 h 3322010"/>
                <a:gd name="connsiteX8" fmla="*/ 1311275 w 7864475"/>
                <a:gd name="connsiteY8" fmla="*/ 3200400 h 3322010"/>
                <a:gd name="connsiteX9" fmla="*/ 1235075 w 7864475"/>
                <a:gd name="connsiteY9" fmla="*/ 3171825 h 3322010"/>
                <a:gd name="connsiteX10" fmla="*/ 1139825 w 7864475"/>
                <a:gd name="connsiteY10" fmla="*/ 3143250 h 3322010"/>
                <a:gd name="connsiteX11" fmla="*/ 1082675 w 7864475"/>
                <a:gd name="connsiteY11" fmla="*/ 3114675 h 3322010"/>
                <a:gd name="connsiteX12" fmla="*/ 1054100 w 7864475"/>
                <a:gd name="connsiteY12" fmla="*/ 3095625 h 3322010"/>
                <a:gd name="connsiteX13" fmla="*/ 873125 w 7864475"/>
                <a:gd name="connsiteY13" fmla="*/ 3086100 h 3322010"/>
                <a:gd name="connsiteX14" fmla="*/ 844550 w 7864475"/>
                <a:gd name="connsiteY14" fmla="*/ 3076575 h 3322010"/>
                <a:gd name="connsiteX15" fmla="*/ 644525 w 7864475"/>
                <a:gd name="connsiteY15" fmla="*/ 3057525 h 3322010"/>
                <a:gd name="connsiteX16" fmla="*/ 549275 w 7864475"/>
                <a:gd name="connsiteY16" fmla="*/ 3028950 h 3322010"/>
                <a:gd name="connsiteX17" fmla="*/ 520700 w 7864475"/>
                <a:gd name="connsiteY17" fmla="*/ 3019425 h 3322010"/>
                <a:gd name="connsiteX18" fmla="*/ 492125 w 7864475"/>
                <a:gd name="connsiteY18" fmla="*/ 3009900 h 3322010"/>
                <a:gd name="connsiteX19" fmla="*/ 425450 w 7864475"/>
                <a:gd name="connsiteY19" fmla="*/ 2971800 h 3322010"/>
                <a:gd name="connsiteX20" fmla="*/ 368300 w 7864475"/>
                <a:gd name="connsiteY20" fmla="*/ 2952750 h 3322010"/>
                <a:gd name="connsiteX21" fmla="*/ 25400 w 7864475"/>
                <a:gd name="connsiteY21" fmla="*/ 2752725 h 3322010"/>
                <a:gd name="connsiteX22" fmla="*/ 25400 w 7864475"/>
                <a:gd name="connsiteY22" fmla="*/ 2743200 h 3322010"/>
                <a:gd name="connsiteX23" fmla="*/ 34925 w 7864475"/>
                <a:gd name="connsiteY23" fmla="*/ 0 h 3322010"/>
                <a:gd name="connsiteX24" fmla="*/ 34925 w 7864475"/>
                <a:gd name="connsiteY24" fmla="*/ 0 h 3322010"/>
                <a:gd name="connsiteX25" fmla="*/ 34925 w 7864475"/>
                <a:gd name="connsiteY25" fmla="*/ 0 h 3322010"/>
                <a:gd name="connsiteX0" fmla="*/ 101600 w 7864475"/>
                <a:gd name="connsiteY0" fmla="*/ 0 h 3319988"/>
                <a:gd name="connsiteX1" fmla="*/ 7864475 w 7864475"/>
                <a:gd name="connsiteY1" fmla="*/ 0 h 3319988"/>
                <a:gd name="connsiteX2" fmla="*/ 6397625 w 7864475"/>
                <a:gd name="connsiteY2" fmla="*/ 1628775 h 3319988"/>
                <a:gd name="connsiteX3" fmla="*/ 5264150 w 7864475"/>
                <a:gd name="connsiteY3" fmla="*/ 1628775 h 3319988"/>
                <a:gd name="connsiteX4" fmla="*/ 4606925 w 7864475"/>
                <a:gd name="connsiteY4" fmla="*/ 2390775 h 3319988"/>
                <a:gd name="connsiteX5" fmla="*/ 2054225 w 7864475"/>
                <a:gd name="connsiteY5" fmla="*/ 3267075 h 3319988"/>
                <a:gd name="connsiteX6" fmla="*/ 1387475 w 7864475"/>
                <a:gd name="connsiteY6" fmla="*/ 3219450 h 3319988"/>
                <a:gd name="connsiteX7" fmla="*/ 1311275 w 7864475"/>
                <a:gd name="connsiteY7" fmla="*/ 3200400 h 3319988"/>
                <a:gd name="connsiteX8" fmla="*/ 1235075 w 7864475"/>
                <a:gd name="connsiteY8" fmla="*/ 3171825 h 3319988"/>
                <a:gd name="connsiteX9" fmla="*/ 1139825 w 7864475"/>
                <a:gd name="connsiteY9" fmla="*/ 3143250 h 3319988"/>
                <a:gd name="connsiteX10" fmla="*/ 1082675 w 7864475"/>
                <a:gd name="connsiteY10" fmla="*/ 3114675 h 3319988"/>
                <a:gd name="connsiteX11" fmla="*/ 1054100 w 7864475"/>
                <a:gd name="connsiteY11" fmla="*/ 3095625 h 3319988"/>
                <a:gd name="connsiteX12" fmla="*/ 873125 w 7864475"/>
                <a:gd name="connsiteY12" fmla="*/ 3086100 h 3319988"/>
                <a:gd name="connsiteX13" fmla="*/ 844550 w 7864475"/>
                <a:gd name="connsiteY13" fmla="*/ 3076575 h 3319988"/>
                <a:gd name="connsiteX14" fmla="*/ 644525 w 7864475"/>
                <a:gd name="connsiteY14" fmla="*/ 3057525 h 3319988"/>
                <a:gd name="connsiteX15" fmla="*/ 549275 w 7864475"/>
                <a:gd name="connsiteY15" fmla="*/ 3028950 h 3319988"/>
                <a:gd name="connsiteX16" fmla="*/ 520700 w 7864475"/>
                <a:gd name="connsiteY16" fmla="*/ 3019425 h 3319988"/>
                <a:gd name="connsiteX17" fmla="*/ 492125 w 7864475"/>
                <a:gd name="connsiteY17" fmla="*/ 3009900 h 3319988"/>
                <a:gd name="connsiteX18" fmla="*/ 425450 w 7864475"/>
                <a:gd name="connsiteY18" fmla="*/ 2971800 h 3319988"/>
                <a:gd name="connsiteX19" fmla="*/ 368300 w 7864475"/>
                <a:gd name="connsiteY19" fmla="*/ 2952750 h 3319988"/>
                <a:gd name="connsiteX20" fmla="*/ 25400 w 7864475"/>
                <a:gd name="connsiteY20" fmla="*/ 2752725 h 3319988"/>
                <a:gd name="connsiteX21" fmla="*/ 25400 w 7864475"/>
                <a:gd name="connsiteY21" fmla="*/ 2743200 h 3319988"/>
                <a:gd name="connsiteX22" fmla="*/ 34925 w 7864475"/>
                <a:gd name="connsiteY22" fmla="*/ 0 h 3319988"/>
                <a:gd name="connsiteX23" fmla="*/ 34925 w 7864475"/>
                <a:gd name="connsiteY23" fmla="*/ 0 h 3319988"/>
                <a:gd name="connsiteX24" fmla="*/ 34925 w 7864475"/>
                <a:gd name="connsiteY24" fmla="*/ 0 h 3319988"/>
                <a:gd name="connsiteX0" fmla="*/ 101600 w 7864475"/>
                <a:gd name="connsiteY0" fmla="*/ 0 h 3319988"/>
                <a:gd name="connsiteX1" fmla="*/ 7864475 w 7864475"/>
                <a:gd name="connsiteY1" fmla="*/ 0 h 3319988"/>
                <a:gd name="connsiteX2" fmla="*/ 6397625 w 7864475"/>
                <a:gd name="connsiteY2" fmla="*/ 1628775 h 3319988"/>
                <a:gd name="connsiteX3" fmla="*/ 5264150 w 7864475"/>
                <a:gd name="connsiteY3" fmla="*/ 1628775 h 3319988"/>
                <a:gd name="connsiteX4" fmla="*/ 4606925 w 7864475"/>
                <a:gd name="connsiteY4" fmla="*/ 2390775 h 3319988"/>
                <a:gd name="connsiteX5" fmla="*/ 2054225 w 7864475"/>
                <a:gd name="connsiteY5" fmla="*/ 3267075 h 3319988"/>
                <a:gd name="connsiteX6" fmla="*/ 1387475 w 7864475"/>
                <a:gd name="connsiteY6" fmla="*/ 3219450 h 3319988"/>
                <a:gd name="connsiteX7" fmla="*/ 1311275 w 7864475"/>
                <a:gd name="connsiteY7" fmla="*/ 3200400 h 3319988"/>
                <a:gd name="connsiteX8" fmla="*/ 1235075 w 7864475"/>
                <a:gd name="connsiteY8" fmla="*/ 3171825 h 3319988"/>
                <a:gd name="connsiteX9" fmla="*/ 1139825 w 7864475"/>
                <a:gd name="connsiteY9" fmla="*/ 3143250 h 3319988"/>
                <a:gd name="connsiteX10" fmla="*/ 1082675 w 7864475"/>
                <a:gd name="connsiteY10" fmla="*/ 3114675 h 3319988"/>
                <a:gd name="connsiteX11" fmla="*/ 1054100 w 7864475"/>
                <a:gd name="connsiteY11" fmla="*/ 3095625 h 3319988"/>
                <a:gd name="connsiteX12" fmla="*/ 873125 w 7864475"/>
                <a:gd name="connsiteY12" fmla="*/ 3086100 h 3319988"/>
                <a:gd name="connsiteX13" fmla="*/ 844550 w 7864475"/>
                <a:gd name="connsiteY13" fmla="*/ 3076575 h 3319988"/>
                <a:gd name="connsiteX14" fmla="*/ 644525 w 7864475"/>
                <a:gd name="connsiteY14" fmla="*/ 3057525 h 3319988"/>
                <a:gd name="connsiteX15" fmla="*/ 549275 w 7864475"/>
                <a:gd name="connsiteY15" fmla="*/ 3028950 h 3319988"/>
                <a:gd name="connsiteX16" fmla="*/ 520700 w 7864475"/>
                <a:gd name="connsiteY16" fmla="*/ 3019425 h 3319988"/>
                <a:gd name="connsiteX17" fmla="*/ 492125 w 7864475"/>
                <a:gd name="connsiteY17" fmla="*/ 3009900 h 3319988"/>
                <a:gd name="connsiteX18" fmla="*/ 425450 w 7864475"/>
                <a:gd name="connsiteY18" fmla="*/ 2971800 h 3319988"/>
                <a:gd name="connsiteX19" fmla="*/ 368300 w 7864475"/>
                <a:gd name="connsiteY19" fmla="*/ 2952750 h 3319988"/>
                <a:gd name="connsiteX20" fmla="*/ 25400 w 7864475"/>
                <a:gd name="connsiteY20" fmla="*/ 2752725 h 3319988"/>
                <a:gd name="connsiteX21" fmla="*/ 25400 w 7864475"/>
                <a:gd name="connsiteY21" fmla="*/ 2743200 h 3319988"/>
                <a:gd name="connsiteX22" fmla="*/ 34925 w 7864475"/>
                <a:gd name="connsiteY22" fmla="*/ 0 h 3319988"/>
                <a:gd name="connsiteX23" fmla="*/ 34925 w 7864475"/>
                <a:gd name="connsiteY23" fmla="*/ 0 h 3319988"/>
                <a:gd name="connsiteX24" fmla="*/ 34925 w 7864475"/>
                <a:gd name="connsiteY24" fmla="*/ 0 h 3319988"/>
                <a:gd name="connsiteX0" fmla="*/ 101600 w 7864475"/>
                <a:gd name="connsiteY0" fmla="*/ 0 h 3315921"/>
                <a:gd name="connsiteX1" fmla="*/ 7864475 w 7864475"/>
                <a:gd name="connsiteY1" fmla="*/ 0 h 3315921"/>
                <a:gd name="connsiteX2" fmla="*/ 6397625 w 7864475"/>
                <a:gd name="connsiteY2" fmla="*/ 1628775 h 3315921"/>
                <a:gd name="connsiteX3" fmla="*/ 5264150 w 7864475"/>
                <a:gd name="connsiteY3" fmla="*/ 1628775 h 3315921"/>
                <a:gd name="connsiteX4" fmla="*/ 4606925 w 7864475"/>
                <a:gd name="connsiteY4" fmla="*/ 2390775 h 3315921"/>
                <a:gd name="connsiteX5" fmla="*/ 2054225 w 7864475"/>
                <a:gd name="connsiteY5" fmla="*/ 3267075 h 3315921"/>
                <a:gd name="connsiteX6" fmla="*/ 1311275 w 7864475"/>
                <a:gd name="connsiteY6" fmla="*/ 3200400 h 3315921"/>
                <a:gd name="connsiteX7" fmla="*/ 1235075 w 7864475"/>
                <a:gd name="connsiteY7" fmla="*/ 3171825 h 3315921"/>
                <a:gd name="connsiteX8" fmla="*/ 1139825 w 7864475"/>
                <a:gd name="connsiteY8" fmla="*/ 3143250 h 3315921"/>
                <a:gd name="connsiteX9" fmla="*/ 1082675 w 7864475"/>
                <a:gd name="connsiteY9" fmla="*/ 3114675 h 3315921"/>
                <a:gd name="connsiteX10" fmla="*/ 1054100 w 7864475"/>
                <a:gd name="connsiteY10" fmla="*/ 3095625 h 3315921"/>
                <a:gd name="connsiteX11" fmla="*/ 873125 w 7864475"/>
                <a:gd name="connsiteY11" fmla="*/ 3086100 h 3315921"/>
                <a:gd name="connsiteX12" fmla="*/ 844550 w 7864475"/>
                <a:gd name="connsiteY12" fmla="*/ 3076575 h 3315921"/>
                <a:gd name="connsiteX13" fmla="*/ 644525 w 7864475"/>
                <a:gd name="connsiteY13" fmla="*/ 3057525 h 3315921"/>
                <a:gd name="connsiteX14" fmla="*/ 549275 w 7864475"/>
                <a:gd name="connsiteY14" fmla="*/ 3028950 h 3315921"/>
                <a:gd name="connsiteX15" fmla="*/ 520700 w 7864475"/>
                <a:gd name="connsiteY15" fmla="*/ 3019425 h 3315921"/>
                <a:gd name="connsiteX16" fmla="*/ 492125 w 7864475"/>
                <a:gd name="connsiteY16" fmla="*/ 3009900 h 3315921"/>
                <a:gd name="connsiteX17" fmla="*/ 425450 w 7864475"/>
                <a:gd name="connsiteY17" fmla="*/ 2971800 h 3315921"/>
                <a:gd name="connsiteX18" fmla="*/ 368300 w 7864475"/>
                <a:gd name="connsiteY18" fmla="*/ 2952750 h 3315921"/>
                <a:gd name="connsiteX19" fmla="*/ 25400 w 7864475"/>
                <a:gd name="connsiteY19" fmla="*/ 2752725 h 3315921"/>
                <a:gd name="connsiteX20" fmla="*/ 25400 w 7864475"/>
                <a:gd name="connsiteY20" fmla="*/ 2743200 h 3315921"/>
                <a:gd name="connsiteX21" fmla="*/ 34925 w 7864475"/>
                <a:gd name="connsiteY21" fmla="*/ 0 h 3315921"/>
                <a:gd name="connsiteX22" fmla="*/ 34925 w 7864475"/>
                <a:gd name="connsiteY22" fmla="*/ 0 h 3315921"/>
                <a:gd name="connsiteX23" fmla="*/ 34925 w 7864475"/>
                <a:gd name="connsiteY23" fmla="*/ 0 h 3315921"/>
                <a:gd name="connsiteX0" fmla="*/ 101600 w 7864475"/>
                <a:gd name="connsiteY0" fmla="*/ 0 h 3315921"/>
                <a:gd name="connsiteX1" fmla="*/ 7864475 w 7864475"/>
                <a:gd name="connsiteY1" fmla="*/ 0 h 3315921"/>
                <a:gd name="connsiteX2" fmla="*/ 6397625 w 7864475"/>
                <a:gd name="connsiteY2" fmla="*/ 1628775 h 3315921"/>
                <a:gd name="connsiteX3" fmla="*/ 5264150 w 7864475"/>
                <a:gd name="connsiteY3" fmla="*/ 1628775 h 3315921"/>
                <a:gd name="connsiteX4" fmla="*/ 4606925 w 7864475"/>
                <a:gd name="connsiteY4" fmla="*/ 2390775 h 3315921"/>
                <a:gd name="connsiteX5" fmla="*/ 2054225 w 7864475"/>
                <a:gd name="connsiteY5" fmla="*/ 3267075 h 3315921"/>
                <a:gd name="connsiteX6" fmla="*/ 1311275 w 7864475"/>
                <a:gd name="connsiteY6" fmla="*/ 3200400 h 3315921"/>
                <a:gd name="connsiteX7" fmla="*/ 1235075 w 7864475"/>
                <a:gd name="connsiteY7" fmla="*/ 3171825 h 3315921"/>
                <a:gd name="connsiteX8" fmla="*/ 1139825 w 7864475"/>
                <a:gd name="connsiteY8" fmla="*/ 3143250 h 3315921"/>
                <a:gd name="connsiteX9" fmla="*/ 1082675 w 7864475"/>
                <a:gd name="connsiteY9" fmla="*/ 3114675 h 3315921"/>
                <a:gd name="connsiteX10" fmla="*/ 1054100 w 7864475"/>
                <a:gd name="connsiteY10" fmla="*/ 3095625 h 3315921"/>
                <a:gd name="connsiteX11" fmla="*/ 873125 w 7864475"/>
                <a:gd name="connsiteY11" fmla="*/ 3086100 h 3315921"/>
                <a:gd name="connsiteX12" fmla="*/ 844550 w 7864475"/>
                <a:gd name="connsiteY12" fmla="*/ 3076575 h 3315921"/>
                <a:gd name="connsiteX13" fmla="*/ 644525 w 7864475"/>
                <a:gd name="connsiteY13" fmla="*/ 3057525 h 3315921"/>
                <a:gd name="connsiteX14" fmla="*/ 549275 w 7864475"/>
                <a:gd name="connsiteY14" fmla="*/ 3028950 h 3315921"/>
                <a:gd name="connsiteX15" fmla="*/ 520700 w 7864475"/>
                <a:gd name="connsiteY15" fmla="*/ 3019425 h 3315921"/>
                <a:gd name="connsiteX16" fmla="*/ 492125 w 7864475"/>
                <a:gd name="connsiteY16" fmla="*/ 3009900 h 3315921"/>
                <a:gd name="connsiteX17" fmla="*/ 425450 w 7864475"/>
                <a:gd name="connsiteY17" fmla="*/ 2971800 h 3315921"/>
                <a:gd name="connsiteX18" fmla="*/ 368300 w 7864475"/>
                <a:gd name="connsiteY18" fmla="*/ 2952750 h 3315921"/>
                <a:gd name="connsiteX19" fmla="*/ 25400 w 7864475"/>
                <a:gd name="connsiteY19" fmla="*/ 2752725 h 3315921"/>
                <a:gd name="connsiteX20" fmla="*/ 25400 w 7864475"/>
                <a:gd name="connsiteY20" fmla="*/ 2743200 h 3315921"/>
                <a:gd name="connsiteX21" fmla="*/ 34925 w 7864475"/>
                <a:gd name="connsiteY21" fmla="*/ 0 h 3315921"/>
                <a:gd name="connsiteX22" fmla="*/ 34925 w 7864475"/>
                <a:gd name="connsiteY22" fmla="*/ 0 h 3315921"/>
                <a:gd name="connsiteX23" fmla="*/ 34925 w 7864475"/>
                <a:gd name="connsiteY23" fmla="*/ 0 h 3315921"/>
                <a:gd name="connsiteX0" fmla="*/ 101600 w 7864475"/>
                <a:gd name="connsiteY0" fmla="*/ 0 h 3315921"/>
                <a:gd name="connsiteX1" fmla="*/ 7864475 w 7864475"/>
                <a:gd name="connsiteY1" fmla="*/ 0 h 3315921"/>
                <a:gd name="connsiteX2" fmla="*/ 6397625 w 7864475"/>
                <a:gd name="connsiteY2" fmla="*/ 1628775 h 3315921"/>
                <a:gd name="connsiteX3" fmla="*/ 5264150 w 7864475"/>
                <a:gd name="connsiteY3" fmla="*/ 1628775 h 3315921"/>
                <a:gd name="connsiteX4" fmla="*/ 4606925 w 7864475"/>
                <a:gd name="connsiteY4" fmla="*/ 2390775 h 3315921"/>
                <a:gd name="connsiteX5" fmla="*/ 2054225 w 7864475"/>
                <a:gd name="connsiteY5" fmla="*/ 3267075 h 3315921"/>
                <a:gd name="connsiteX6" fmla="*/ 1311275 w 7864475"/>
                <a:gd name="connsiteY6" fmla="*/ 3200400 h 3315921"/>
                <a:gd name="connsiteX7" fmla="*/ 1235075 w 7864475"/>
                <a:gd name="connsiteY7" fmla="*/ 3171825 h 3315921"/>
                <a:gd name="connsiteX8" fmla="*/ 1139825 w 7864475"/>
                <a:gd name="connsiteY8" fmla="*/ 3143250 h 3315921"/>
                <a:gd name="connsiteX9" fmla="*/ 1082675 w 7864475"/>
                <a:gd name="connsiteY9" fmla="*/ 3114675 h 3315921"/>
                <a:gd name="connsiteX10" fmla="*/ 1054100 w 7864475"/>
                <a:gd name="connsiteY10" fmla="*/ 3095625 h 3315921"/>
                <a:gd name="connsiteX11" fmla="*/ 873125 w 7864475"/>
                <a:gd name="connsiteY11" fmla="*/ 3086100 h 3315921"/>
                <a:gd name="connsiteX12" fmla="*/ 844550 w 7864475"/>
                <a:gd name="connsiteY12" fmla="*/ 3076575 h 3315921"/>
                <a:gd name="connsiteX13" fmla="*/ 644525 w 7864475"/>
                <a:gd name="connsiteY13" fmla="*/ 3057525 h 3315921"/>
                <a:gd name="connsiteX14" fmla="*/ 549275 w 7864475"/>
                <a:gd name="connsiteY14" fmla="*/ 3028950 h 3315921"/>
                <a:gd name="connsiteX15" fmla="*/ 520700 w 7864475"/>
                <a:gd name="connsiteY15" fmla="*/ 3019425 h 3315921"/>
                <a:gd name="connsiteX16" fmla="*/ 492125 w 7864475"/>
                <a:gd name="connsiteY16" fmla="*/ 3009900 h 3315921"/>
                <a:gd name="connsiteX17" fmla="*/ 425450 w 7864475"/>
                <a:gd name="connsiteY17" fmla="*/ 2971800 h 3315921"/>
                <a:gd name="connsiteX18" fmla="*/ 368300 w 7864475"/>
                <a:gd name="connsiteY18" fmla="*/ 2952750 h 3315921"/>
                <a:gd name="connsiteX19" fmla="*/ 25400 w 7864475"/>
                <a:gd name="connsiteY19" fmla="*/ 2752725 h 3315921"/>
                <a:gd name="connsiteX20" fmla="*/ 25400 w 7864475"/>
                <a:gd name="connsiteY20" fmla="*/ 2743200 h 3315921"/>
                <a:gd name="connsiteX21" fmla="*/ 34925 w 7864475"/>
                <a:gd name="connsiteY21" fmla="*/ 0 h 3315921"/>
                <a:gd name="connsiteX22" fmla="*/ 34925 w 7864475"/>
                <a:gd name="connsiteY22" fmla="*/ 0 h 3315921"/>
                <a:gd name="connsiteX23" fmla="*/ 34925 w 7864475"/>
                <a:gd name="connsiteY23" fmla="*/ 0 h 3315921"/>
                <a:gd name="connsiteX0" fmla="*/ 101600 w 7864475"/>
                <a:gd name="connsiteY0" fmla="*/ 0 h 3315921"/>
                <a:gd name="connsiteX1" fmla="*/ 7864475 w 7864475"/>
                <a:gd name="connsiteY1" fmla="*/ 0 h 3315921"/>
                <a:gd name="connsiteX2" fmla="*/ 6397625 w 7864475"/>
                <a:gd name="connsiteY2" fmla="*/ 1628775 h 3315921"/>
                <a:gd name="connsiteX3" fmla="*/ 5264150 w 7864475"/>
                <a:gd name="connsiteY3" fmla="*/ 1628775 h 3315921"/>
                <a:gd name="connsiteX4" fmla="*/ 4606925 w 7864475"/>
                <a:gd name="connsiteY4" fmla="*/ 2390775 h 3315921"/>
                <a:gd name="connsiteX5" fmla="*/ 2054225 w 7864475"/>
                <a:gd name="connsiteY5" fmla="*/ 3267075 h 3315921"/>
                <a:gd name="connsiteX6" fmla="*/ 1311275 w 7864475"/>
                <a:gd name="connsiteY6" fmla="*/ 3200400 h 3315921"/>
                <a:gd name="connsiteX7" fmla="*/ 1235075 w 7864475"/>
                <a:gd name="connsiteY7" fmla="*/ 3171825 h 3315921"/>
                <a:gd name="connsiteX8" fmla="*/ 1139825 w 7864475"/>
                <a:gd name="connsiteY8" fmla="*/ 3143250 h 3315921"/>
                <a:gd name="connsiteX9" fmla="*/ 1082675 w 7864475"/>
                <a:gd name="connsiteY9" fmla="*/ 3114675 h 3315921"/>
                <a:gd name="connsiteX10" fmla="*/ 1054100 w 7864475"/>
                <a:gd name="connsiteY10" fmla="*/ 3095625 h 3315921"/>
                <a:gd name="connsiteX11" fmla="*/ 873125 w 7864475"/>
                <a:gd name="connsiteY11" fmla="*/ 3086100 h 3315921"/>
                <a:gd name="connsiteX12" fmla="*/ 844550 w 7864475"/>
                <a:gd name="connsiteY12" fmla="*/ 3076575 h 3315921"/>
                <a:gd name="connsiteX13" fmla="*/ 644525 w 7864475"/>
                <a:gd name="connsiteY13" fmla="*/ 3057525 h 3315921"/>
                <a:gd name="connsiteX14" fmla="*/ 549275 w 7864475"/>
                <a:gd name="connsiteY14" fmla="*/ 3028950 h 3315921"/>
                <a:gd name="connsiteX15" fmla="*/ 520700 w 7864475"/>
                <a:gd name="connsiteY15" fmla="*/ 3019425 h 3315921"/>
                <a:gd name="connsiteX16" fmla="*/ 492125 w 7864475"/>
                <a:gd name="connsiteY16" fmla="*/ 3009900 h 3315921"/>
                <a:gd name="connsiteX17" fmla="*/ 425450 w 7864475"/>
                <a:gd name="connsiteY17" fmla="*/ 2971800 h 3315921"/>
                <a:gd name="connsiteX18" fmla="*/ 368300 w 7864475"/>
                <a:gd name="connsiteY18" fmla="*/ 2952750 h 3315921"/>
                <a:gd name="connsiteX19" fmla="*/ 25400 w 7864475"/>
                <a:gd name="connsiteY19" fmla="*/ 2752725 h 3315921"/>
                <a:gd name="connsiteX20" fmla="*/ 25400 w 7864475"/>
                <a:gd name="connsiteY20" fmla="*/ 2743200 h 3315921"/>
                <a:gd name="connsiteX21" fmla="*/ 34925 w 7864475"/>
                <a:gd name="connsiteY21" fmla="*/ 0 h 3315921"/>
                <a:gd name="connsiteX22" fmla="*/ 34925 w 7864475"/>
                <a:gd name="connsiteY22" fmla="*/ 0 h 3315921"/>
                <a:gd name="connsiteX23" fmla="*/ 34925 w 7864475"/>
                <a:gd name="connsiteY23" fmla="*/ 0 h 3315921"/>
                <a:gd name="connsiteX0" fmla="*/ 101600 w 7864475"/>
                <a:gd name="connsiteY0" fmla="*/ 0 h 3316661"/>
                <a:gd name="connsiteX1" fmla="*/ 7864475 w 7864475"/>
                <a:gd name="connsiteY1" fmla="*/ 0 h 3316661"/>
                <a:gd name="connsiteX2" fmla="*/ 6397625 w 7864475"/>
                <a:gd name="connsiteY2" fmla="*/ 1628775 h 3316661"/>
                <a:gd name="connsiteX3" fmla="*/ 5264150 w 7864475"/>
                <a:gd name="connsiteY3" fmla="*/ 1628775 h 3316661"/>
                <a:gd name="connsiteX4" fmla="*/ 4606925 w 7864475"/>
                <a:gd name="connsiteY4" fmla="*/ 2390775 h 3316661"/>
                <a:gd name="connsiteX5" fmla="*/ 2054225 w 7864475"/>
                <a:gd name="connsiteY5" fmla="*/ 3267075 h 3316661"/>
                <a:gd name="connsiteX6" fmla="*/ 1311275 w 7864475"/>
                <a:gd name="connsiteY6" fmla="*/ 3200400 h 3316661"/>
                <a:gd name="connsiteX7" fmla="*/ 1139825 w 7864475"/>
                <a:gd name="connsiteY7" fmla="*/ 3143250 h 3316661"/>
                <a:gd name="connsiteX8" fmla="*/ 1082675 w 7864475"/>
                <a:gd name="connsiteY8" fmla="*/ 3114675 h 3316661"/>
                <a:gd name="connsiteX9" fmla="*/ 1054100 w 7864475"/>
                <a:gd name="connsiteY9" fmla="*/ 3095625 h 3316661"/>
                <a:gd name="connsiteX10" fmla="*/ 873125 w 7864475"/>
                <a:gd name="connsiteY10" fmla="*/ 3086100 h 3316661"/>
                <a:gd name="connsiteX11" fmla="*/ 844550 w 7864475"/>
                <a:gd name="connsiteY11" fmla="*/ 3076575 h 3316661"/>
                <a:gd name="connsiteX12" fmla="*/ 644525 w 7864475"/>
                <a:gd name="connsiteY12" fmla="*/ 3057525 h 3316661"/>
                <a:gd name="connsiteX13" fmla="*/ 549275 w 7864475"/>
                <a:gd name="connsiteY13" fmla="*/ 3028950 h 3316661"/>
                <a:gd name="connsiteX14" fmla="*/ 520700 w 7864475"/>
                <a:gd name="connsiteY14" fmla="*/ 3019425 h 3316661"/>
                <a:gd name="connsiteX15" fmla="*/ 492125 w 7864475"/>
                <a:gd name="connsiteY15" fmla="*/ 3009900 h 3316661"/>
                <a:gd name="connsiteX16" fmla="*/ 425450 w 7864475"/>
                <a:gd name="connsiteY16" fmla="*/ 2971800 h 3316661"/>
                <a:gd name="connsiteX17" fmla="*/ 368300 w 7864475"/>
                <a:gd name="connsiteY17" fmla="*/ 2952750 h 3316661"/>
                <a:gd name="connsiteX18" fmla="*/ 25400 w 7864475"/>
                <a:gd name="connsiteY18" fmla="*/ 2752725 h 3316661"/>
                <a:gd name="connsiteX19" fmla="*/ 25400 w 7864475"/>
                <a:gd name="connsiteY19" fmla="*/ 2743200 h 3316661"/>
                <a:gd name="connsiteX20" fmla="*/ 34925 w 7864475"/>
                <a:gd name="connsiteY20" fmla="*/ 0 h 3316661"/>
                <a:gd name="connsiteX21" fmla="*/ 34925 w 7864475"/>
                <a:gd name="connsiteY21" fmla="*/ 0 h 3316661"/>
                <a:gd name="connsiteX22" fmla="*/ 34925 w 7864475"/>
                <a:gd name="connsiteY22" fmla="*/ 0 h 3316661"/>
                <a:gd name="connsiteX0" fmla="*/ 101600 w 7864475"/>
                <a:gd name="connsiteY0" fmla="*/ 0 h 3316661"/>
                <a:gd name="connsiteX1" fmla="*/ 7864475 w 7864475"/>
                <a:gd name="connsiteY1" fmla="*/ 0 h 3316661"/>
                <a:gd name="connsiteX2" fmla="*/ 6397625 w 7864475"/>
                <a:gd name="connsiteY2" fmla="*/ 1628775 h 3316661"/>
                <a:gd name="connsiteX3" fmla="*/ 5264150 w 7864475"/>
                <a:gd name="connsiteY3" fmla="*/ 1628775 h 3316661"/>
                <a:gd name="connsiteX4" fmla="*/ 4606925 w 7864475"/>
                <a:gd name="connsiteY4" fmla="*/ 2390775 h 3316661"/>
                <a:gd name="connsiteX5" fmla="*/ 2054225 w 7864475"/>
                <a:gd name="connsiteY5" fmla="*/ 3267075 h 3316661"/>
                <a:gd name="connsiteX6" fmla="*/ 1311275 w 7864475"/>
                <a:gd name="connsiteY6" fmla="*/ 3200400 h 3316661"/>
                <a:gd name="connsiteX7" fmla="*/ 1139825 w 7864475"/>
                <a:gd name="connsiteY7" fmla="*/ 3143250 h 3316661"/>
                <a:gd name="connsiteX8" fmla="*/ 1082675 w 7864475"/>
                <a:gd name="connsiteY8" fmla="*/ 3114675 h 3316661"/>
                <a:gd name="connsiteX9" fmla="*/ 1054100 w 7864475"/>
                <a:gd name="connsiteY9" fmla="*/ 3095625 h 3316661"/>
                <a:gd name="connsiteX10" fmla="*/ 873125 w 7864475"/>
                <a:gd name="connsiteY10" fmla="*/ 3086100 h 3316661"/>
                <a:gd name="connsiteX11" fmla="*/ 844550 w 7864475"/>
                <a:gd name="connsiteY11" fmla="*/ 3076575 h 3316661"/>
                <a:gd name="connsiteX12" fmla="*/ 644525 w 7864475"/>
                <a:gd name="connsiteY12" fmla="*/ 3057525 h 3316661"/>
                <a:gd name="connsiteX13" fmla="*/ 549275 w 7864475"/>
                <a:gd name="connsiteY13" fmla="*/ 3028950 h 3316661"/>
                <a:gd name="connsiteX14" fmla="*/ 520700 w 7864475"/>
                <a:gd name="connsiteY14" fmla="*/ 3019425 h 3316661"/>
                <a:gd name="connsiteX15" fmla="*/ 492125 w 7864475"/>
                <a:gd name="connsiteY15" fmla="*/ 3009900 h 3316661"/>
                <a:gd name="connsiteX16" fmla="*/ 425450 w 7864475"/>
                <a:gd name="connsiteY16" fmla="*/ 2971800 h 3316661"/>
                <a:gd name="connsiteX17" fmla="*/ 368300 w 7864475"/>
                <a:gd name="connsiteY17" fmla="*/ 2952750 h 3316661"/>
                <a:gd name="connsiteX18" fmla="*/ 25400 w 7864475"/>
                <a:gd name="connsiteY18" fmla="*/ 2752725 h 3316661"/>
                <a:gd name="connsiteX19" fmla="*/ 25400 w 7864475"/>
                <a:gd name="connsiteY19" fmla="*/ 2743200 h 3316661"/>
                <a:gd name="connsiteX20" fmla="*/ 34925 w 7864475"/>
                <a:gd name="connsiteY20" fmla="*/ 0 h 3316661"/>
                <a:gd name="connsiteX21" fmla="*/ 34925 w 7864475"/>
                <a:gd name="connsiteY21" fmla="*/ 0 h 3316661"/>
                <a:gd name="connsiteX22" fmla="*/ 34925 w 7864475"/>
                <a:gd name="connsiteY22" fmla="*/ 0 h 3316661"/>
                <a:gd name="connsiteX0" fmla="*/ 101600 w 7864475"/>
                <a:gd name="connsiteY0" fmla="*/ 0 h 3304977"/>
                <a:gd name="connsiteX1" fmla="*/ 7864475 w 7864475"/>
                <a:gd name="connsiteY1" fmla="*/ 0 h 3304977"/>
                <a:gd name="connsiteX2" fmla="*/ 6397625 w 7864475"/>
                <a:gd name="connsiteY2" fmla="*/ 1628775 h 3304977"/>
                <a:gd name="connsiteX3" fmla="*/ 5264150 w 7864475"/>
                <a:gd name="connsiteY3" fmla="*/ 1628775 h 3304977"/>
                <a:gd name="connsiteX4" fmla="*/ 4606925 w 7864475"/>
                <a:gd name="connsiteY4" fmla="*/ 2390775 h 3304977"/>
                <a:gd name="connsiteX5" fmla="*/ 2054225 w 7864475"/>
                <a:gd name="connsiteY5" fmla="*/ 3267075 h 3304977"/>
                <a:gd name="connsiteX6" fmla="*/ 1139825 w 7864475"/>
                <a:gd name="connsiteY6" fmla="*/ 3143250 h 3304977"/>
                <a:gd name="connsiteX7" fmla="*/ 1082675 w 7864475"/>
                <a:gd name="connsiteY7" fmla="*/ 3114675 h 3304977"/>
                <a:gd name="connsiteX8" fmla="*/ 1054100 w 7864475"/>
                <a:gd name="connsiteY8" fmla="*/ 3095625 h 3304977"/>
                <a:gd name="connsiteX9" fmla="*/ 873125 w 7864475"/>
                <a:gd name="connsiteY9" fmla="*/ 3086100 h 3304977"/>
                <a:gd name="connsiteX10" fmla="*/ 844550 w 7864475"/>
                <a:gd name="connsiteY10" fmla="*/ 3076575 h 3304977"/>
                <a:gd name="connsiteX11" fmla="*/ 644525 w 7864475"/>
                <a:gd name="connsiteY11" fmla="*/ 3057525 h 3304977"/>
                <a:gd name="connsiteX12" fmla="*/ 549275 w 7864475"/>
                <a:gd name="connsiteY12" fmla="*/ 3028950 h 3304977"/>
                <a:gd name="connsiteX13" fmla="*/ 520700 w 7864475"/>
                <a:gd name="connsiteY13" fmla="*/ 3019425 h 3304977"/>
                <a:gd name="connsiteX14" fmla="*/ 492125 w 7864475"/>
                <a:gd name="connsiteY14" fmla="*/ 3009900 h 3304977"/>
                <a:gd name="connsiteX15" fmla="*/ 425450 w 7864475"/>
                <a:gd name="connsiteY15" fmla="*/ 2971800 h 3304977"/>
                <a:gd name="connsiteX16" fmla="*/ 368300 w 7864475"/>
                <a:gd name="connsiteY16" fmla="*/ 2952750 h 3304977"/>
                <a:gd name="connsiteX17" fmla="*/ 25400 w 7864475"/>
                <a:gd name="connsiteY17" fmla="*/ 2752725 h 3304977"/>
                <a:gd name="connsiteX18" fmla="*/ 25400 w 7864475"/>
                <a:gd name="connsiteY18" fmla="*/ 2743200 h 3304977"/>
                <a:gd name="connsiteX19" fmla="*/ 34925 w 7864475"/>
                <a:gd name="connsiteY19" fmla="*/ 0 h 3304977"/>
                <a:gd name="connsiteX20" fmla="*/ 34925 w 7864475"/>
                <a:gd name="connsiteY20" fmla="*/ 0 h 3304977"/>
                <a:gd name="connsiteX21" fmla="*/ 34925 w 7864475"/>
                <a:gd name="connsiteY21" fmla="*/ 0 h 3304977"/>
                <a:gd name="connsiteX0" fmla="*/ 101600 w 7864475"/>
                <a:gd name="connsiteY0" fmla="*/ 0 h 3304977"/>
                <a:gd name="connsiteX1" fmla="*/ 7864475 w 7864475"/>
                <a:gd name="connsiteY1" fmla="*/ 0 h 3304977"/>
                <a:gd name="connsiteX2" fmla="*/ 6397625 w 7864475"/>
                <a:gd name="connsiteY2" fmla="*/ 1628775 h 3304977"/>
                <a:gd name="connsiteX3" fmla="*/ 5264150 w 7864475"/>
                <a:gd name="connsiteY3" fmla="*/ 1628775 h 3304977"/>
                <a:gd name="connsiteX4" fmla="*/ 4606925 w 7864475"/>
                <a:gd name="connsiteY4" fmla="*/ 2390775 h 3304977"/>
                <a:gd name="connsiteX5" fmla="*/ 2054225 w 7864475"/>
                <a:gd name="connsiteY5" fmla="*/ 3267075 h 3304977"/>
                <a:gd name="connsiteX6" fmla="*/ 1139825 w 7864475"/>
                <a:gd name="connsiteY6" fmla="*/ 3143250 h 3304977"/>
                <a:gd name="connsiteX7" fmla="*/ 1082675 w 7864475"/>
                <a:gd name="connsiteY7" fmla="*/ 3114675 h 3304977"/>
                <a:gd name="connsiteX8" fmla="*/ 1054100 w 7864475"/>
                <a:gd name="connsiteY8" fmla="*/ 3095625 h 3304977"/>
                <a:gd name="connsiteX9" fmla="*/ 873125 w 7864475"/>
                <a:gd name="connsiteY9" fmla="*/ 3086100 h 3304977"/>
                <a:gd name="connsiteX10" fmla="*/ 844550 w 7864475"/>
                <a:gd name="connsiteY10" fmla="*/ 3076575 h 3304977"/>
                <a:gd name="connsiteX11" fmla="*/ 644525 w 7864475"/>
                <a:gd name="connsiteY11" fmla="*/ 3057525 h 3304977"/>
                <a:gd name="connsiteX12" fmla="*/ 549275 w 7864475"/>
                <a:gd name="connsiteY12" fmla="*/ 3028950 h 3304977"/>
                <a:gd name="connsiteX13" fmla="*/ 520700 w 7864475"/>
                <a:gd name="connsiteY13" fmla="*/ 3019425 h 3304977"/>
                <a:gd name="connsiteX14" fmla="*/ 492125 w 7864475"/>
                <a:gd name="connsiteY14" fmla="*/ 3009900 h 3304977"/>
                <a:gd name="connsiteX15" fmla="*/ 425450 w 7864475"/>
                <a:gd name="connsiteY15" fmla="*/ 2971800 h 3304977"/>
                <a:gd name="connsiteX16" fmla="*/ 368300 w 7864475"/>
                <a:gd name="connsiteY16" fmla="*/ 2952750 h 3304977"/>
                <a:gd name="connsiteX17" fmla="*/ 25400 w 7864475"/>
                <a:gd name="connsiteY17" fmla="*/ 2752725 h 3304977"/>
                <a:gd name="connsiteX18" fmla="*/ 25400 w 7864475"/>
                <a:gd name="connsiteY18" fmla="*/ 2743200 h 3304977"/>
                <a:gd name="connsiteX19" fmla="*/ 34925 w 7864475"/>
                <a:gd name="connsiteY19" fmla="*/ 0 h 3304977"/>
                <a:gd name="connsiteX20" fmla="*/ 34925 w 7864475"/>
                <a:gd name="connsiteY20" fmla="*/ 0 h 3304977"/>
                <a:gd name="connsiteX21" fmla="*/ 34925 w 7864475"/>
                <a:gd name="connsiteY21" fmla="*/ 0 h 3304977"/>
                <a:gd name="connsiteX0" fmla="*/ 101600 w 7864475"/>
                <a:gd name="connsiteY0" fmla="*/ 0 h 3300312"/>
                <a:gd name="connsiteX1" fmla="*/ 7864475 w 7864475"/>
                <a:gd name="connsiteY1" fmla="*/ 0 h 3300312"/>
                <a:gd name="connsiteX2" fmla="*/ 6397625 w 7864475"/>
                <a:gd name="connsiteY2" fmla="*/ 1628775 h 3300312"/>
                <a:gd name="connsiteX3" fmla="*/ 5264150 w 7864475"/>
                <a:gd name="connsiteY3" fmla="*/ 1628775 h 3300312"/>
                <a:gd name="connsiteX4" fmla="*/ 4606925 w 7864475"/>
                <a:gd name="connsiteY4" fmla="*/ 2390775 h 3300312"/>
                <a:gd name="connsiteX5" fmla="*/ 2054225 w 7864475"/>
                <a:gd name="connsiteY5" fmla="*/ 3267075 h 3300312"/>
                <a:gd name="connsiteX6" fmla="*/ 1082675 w 7864475"/>
                <a:gd name="connsiteY6" fmla="*/ 3114675 h 3300312"/>
                <a:gd name="connsiteX7" fmla="*/ 1054100 w 7864475"/>
                <a:gd name="connsiteY7" fmla="*/ 3095625 h 3300312"/>
                <a:gd name="connsiteX8" fmla="*/ 873125 w 7864475"/>
                <a:gd name="connsiteY8" fmla="*/ 3086100 h 3300312"/>
                <a:gd name="connsiteX9" fmla="*/ 844550 w 7864475"/>
                <a:gd name="connsiteY9" fmla="*/ 3076575 h 3300312"/>
                <a:gd name="connsiteX10" fmla="*/ 644525 w 7864475"/>
                <a:gd name="connsiteY10" fmla="*/ 3057525 h 3300312"/>
                <a:gd name="connsiteX11" fmla="*/ 549275 w 7864475"/>
                <a:gd name="connsiteY11" fmla="*/ 3028950 h 3300312"/>
                <a:gd name="connsiteX12" fmla="*/ 520700 w 7864475"/>
                <a:gd name="connsiteY12" fmla="*/ 3019425 h 3300312"/>
                <a:gd name="connsiteX13" fmla="*/ 492125 w 7864475"/>
                <a:gd name="connsiteY13" fmla="*/ 3009900 h 3300312"/>
                <a:gd name="connsiteX14" fmla="*/ 425450 w 7864475"/>
                <a:gd name="connsiteY14" fmla="*/ 2971800 h 3300312"/>
                <a:gd name="connsiteX15" fmla="*/ 368300 w 7864475"/>
                <a:gd name="connsiteY15" fmla="*/ 2952750 h 3300312"/>
                <a:gd name="connsiteX16" fmla="*/ 25400 w 7864475"/>
                <a:gd name="connsiteY16" fmla="*/ 2752725 h 3300312"/>
                <a:gd name="connsiteX17" fmla="*/ 25400 w 7864475"/>
                <a:gd name="connsiteY17" fmla="*/ 2743200 h 3300312"/>
                <a:gd name="connsiteX18" fmla="*/ 34925 w 7864475"/>
                <a:gd name="connsiteY18" fmla="*/ 0 h 3300312"/>
                <a:gd name="connsiteX19" fmla="*/ 34925 w 7864475"/>
                <a:gd name="connsiteY19" fmla="*/ 0 h 3300312"/>
                <a:gd name="connsiteX20" fmla="*/ 34925 w 7864475"/>
                <a:gd name="connsiteY20" fmla="*/ 0 h 3300312"/>
                <a:gd name="connsiteX0" fmla="*/ 101600 w 7864475"/>
                <a:gd name="connsiteY0" fmla="*/ 0 h 3300459"/>
                <a:gd name="connsiteX1" fmla="*/ 7864475 w 7864475"/>
                <a:gd name="connsiteY1" fmla="*/ 0 h 3300459"/>
                <a:gd name="connsiteX2" fmla="*/ 6397625 w 7864475"/>
                <a:gd name="connsiteY2" fmla="*/ 1628775 h 3300459"/>
                <a:gd name="connsiteX3" fmla="*/ 5264150 w 7864475"/>
                <a:gd name="connsiteY3" fmla="*/ 1628775 h 3300459"/>
                <a:gd name="connsiteX4" fmla="*/ 4606925 w 7864475"/>
                <a:gd name="connsiteY4" fmla="*/ 2390775 h 3300459"/>
                <a:gd name="connsiteX5" fmla="*/ 2054225 w 7864475"/>
                <a:gd name="connsiteY5" fmla="*/ 3267075 h 3300459"/>
                <a:gd name="connsiteX6" fmla="*/ 1082675 w 7864475"/>
                <a:gd name="connsiteY6" fmla="*/ 3114675 h 3300459"/>
                <a:gd name="connsiteX7" fmla="*/ 873125 w 7864475"/>
                <a:gd name="connsiteY7" fmla="*/ 3086100 h 3300459"/>
                <a:gd name="connsiteX8" fmla="*/ 844550 w 7864475"/>
                <a:gd name="connsiteY8" fmla="*/ 3076575 h 3300459"/>
                <a:gd name="connsiteX9" fmla="*/ 644525 w 7864475"/>
                <a:gd name="connsiteY9" fmla="*/ 3057525 h 3300459"/>
                <a:gd name="connsiteX10" fmla="*/ 549275 w 7864475"/>
                <a:gd name="connsiteY10" fmla="*/ 3028950 h 3300459"/>
                <a:gd name="connsiteX11" fmla="*/ 520700 w 7864475"/>
                <a:gd name="connsiteY11" fmla="*/ 3019425 h 3300459"/>
                <a:gd name="connsiteX12" fmla="*/ 492125 w 7864475"/>
                <a:gd name="connsiteY12" fmla="*/ 3009900 h 3300459"/>
                <a:gd name="connsiteX13" fmla="*/ 425450 w 7864475"/>
                <a:gd name="connsiteY13" fmla="*/ 2971800 h 3300459"/>
                <a:gd name="connsiteX14" fmla="*/ 368300 w 7864475"/>
                <a:gd name="connsiteY14" fmla="*/ 2952750 h 3300459"/>
                <a:gd name="connsiteX15" fmla="*/ 25400 w 7864475"/>
                <a:gd name="connsiteY15" fmla="*/ 2752725 h 3300459"/>
                <a:gd name="connsiteX16" fmla="*/ 25400 w 7864475"/>
                <a:gd name="connsiteY16" fmla="*/ 2743200 h 3300459"/>
                <a:gd name="connsiteX17" fmla="*/ 34925 w 7864475"/>
                <a:gd name="connsiteY17" fmla="*/ 0 h 3300459"/>
                <a:gd name="connsiteX18" fmla="*/ 34925 w 7864475"/>
                <a:gd name="connsiteY18" fmla="*/ 0 h 3300459"/>
                <a:gd name="connsiteX19" fmla="*/ 34925 w 7864475"/>
                <a:gd name="connsiteY19" fmla="*/ 0 h 3300459"/>
                <a:gd name="connsiteX0" fmla="*/ 101600 w 7864475"/>
                <a:gd name="connsiteY0" fmla="*/ 0 h 3296209"/>
                <a:gd name="connsiteX1" fmla="*/ 7864475 w 7864475"/>
                <a:gd name="connsiteY1" fmla="*/ 0 h 3296209"/>
                <a:gd name="connsiteX2" fmla="*/ 6397625 w 7864475"/>
                <a:gd name="connsiteY2" fmla="*/ 1628775 h 3296209"/>
                <a:gd name="connsiteX3" fmla="*/ 5264150 w 7864475"/>
                <a:gd name="connsiteY3" fmla="*/ 1628775 h 3296209"/>
                <a:gd name="connsiteX4" fmla="*/ 4606925 w 7864475"/>
                <a:gd name="connsiteY4" fmla="*/ 2390775 h 3296209"/>
                <a:gd name="connsiteX5" fmla="*/ 2054225 w 7864475"/>
                <a:gd name="connsiteY5" fmla="*/ 3267075 h 3296209"/>
                <a:gd name="connsiteX6" fmla="*/ 873125 w 7864475"/>
                <a:gd name="connsiteY6" fmla="*/ 3086100 h 3296209"/>
                <a:gd name="connsiteX7" fmla="*/ 844550 w 7864475"/>
                <a:gd name="connsiteY7" fmla="*/ 3076575 h 3296209"/>
                <a:gd name="connsiteX8" fmla="*/ 644525 w 7864475"/>
                <a:gd name="connsiteY8" fmla="*/ 3057525 h 3296209"/>
                <a:gd name="connsiteX9" fmla="*/ 549275 w 7864475"/>
                <a:gd name="connsiteY9" fmla="*/ 3028950 h 3296209"/>
                <a:gd name="connsiteX10" fmla="*/ 520700 w 7864475"/>
                <a:gd name="connsiteY10" fmla="*/ 3019425 h 3296209"/>
                <a:gd name="connsiteX11" fmla="*/ 492125 w 7864475"/>
                <a:gd name="connsiteY11" fmla="*/ 3009900 h 3296209"/>
                <a:gd name="connsiteX12" fmla="*/ 425450 w 7864475"/>
                <a:gd name="connsiteY12" fmla="*/ 2971800 h 3296209"/>
                <a:gd name="connsiteX13" fmla="*/ 368300 w 7864475"/>
                <a:gd name="connsiteY13" fmla="*/ 2952750 h 3296209"/>
                <a:gd name="connsiteX14" fmla="*/ 25400 w 7864475"/>
                <a:gd name="connsiteY14" fmla="*/ 2752725 h 3296209"/>
                <a:gd name="connsiteX15" fmla="*/ 25400 w 7864475"/>
                <a:gd name="connsiteY15" fmla="*/ 2743200 h 3296209"/>
                <a:gd name="connsiteX16" fmla="*/ 34925 w 7864475"/>
                <a:gd name="connsiteY16" fmla="*/ 0 h 3296209"/>
                <a:gd name="connsiteX17" fmla="*/ 34925 w 7864475"/>
                <a:gd name="connsiteY17" fmla="*/ 0 h 3296209"/>
                <a:gd name="connsiteX18" fmla="*/ 34925 w 7864475"/>
                <a:gd name="connsiteY18" fmla="*/ 0 h 3296209"/>
                <a:gd name="connsiteX0" fmla="*/ 101600 w 7864475"/>
                <a:gd name="connsiteY0" fmla="*/ 0 h 3296209"/>
                <a:gd name="connsiteX1" fmla="*/ 7864475 w 7864475"/>
                <a:gd name="connsiteY1" fmla="*/ 0 h 3296209"/>
                <a:gd name="connsiteX2" fmla="*/ 6397625 w 7864475"/>
                <a:gd name="connsiteY2" fmla="*/ 1628775 h 3296209"/>
                <a:gd name="connsiteX3" fmla="*/ 5264150 w 7864475"/>
                <a:gd name="connsiteY3" fmla="*/ 1628775 h 3296209"/>
                <a:gd name="connsiteX4" fmla="*/ 4606925 w 7864475"/>
                <a:gd name="connsiteY4" fmla="*/ 2390775 h 3296209"/>
                <a:gd name="connsiteX5" fmla="*/ 2054225 w 7864475"/>
                <a:gd name="connsiteY5" fmla="*/ 3267075 h 3296209"/>
                <a:gd name="connsiteX6" fmla="*/ 873125 w 7864475"/>
                <a:gd name="connsiteY6" fmla="*/ 3086100 h 3296209"/>
                <a:gd name="connsiteX7" fmla="*/ 644525 w 7864475"/>
                <a:gd name="connsiteY7" fmla="*/ 3057525 h 3296209"/>
                <a:gd name="connsiteX8" fmla="*/ 549275 w 7864475"/>
                <a:gd name="connsiteY8" fmla="*/ 3028950 h 3296209"/>
                <a:gd name="connsiteX9" fmla="*/ 520700 w 7864475"/>
                <a:gd name="connsiteY9" fmla="*/ 3019425 h 3296209"/>
                <a:gd name="connsiteX10" fmla="*/ 492125 w 7864475"/>
                <a:gd name="connsiteY10" fmla="*/ 3009900 h 3296209"/>
                <a:gd name="connsiteX11" fmla="*/ 425450 w 7864475"/>
                <a:gd name="connsiteY11" fmla="*/ 2971800 h 3296209"/>
                <a:gd name="connsiteX12" fmla="*/ 368300 w 7864475"/>
                <a:gd name="connsiteY12" fmla="*/ 2952750 h 3296209"/>
                <a:gd name="connsiteX13" fmla="*/ 25400 w 7864475"/>
                <a:gd name="connsiteY13" fmla="*/ 2752725 h 3296209"/>
                <a:gd name="connsiteX14" fmla="*/ 25400 w 7864475"/>
                <a:gd name="connsiteY14" fmla="*/ 2743200 h 3296209"/>
                <a:gd name="connsiteX15" fmla="*/ 34925 w 7864475"/>
                <a:gd name="connsiteY15" fmla="*/ 0 h 3296209"/>
                <a:gd name="connsiteX16" fmla="*/ 34925 w 7864475"/>
                <a:gd name="connsiteY16" fmla="*/ 0 h 3296209"/>
                <a:gd name="connsiteX17" fmla="*/ 34925 w 7864475"/>
                <a:gd name="connsiteY17" fmla="*/ 0 h 3296209"/>
                <a:gd name="connsiteX0" fmla="*/ 101600 w 7864475"/>
                <a:gd name="connsiteY0" fmla="*/ 0 h 3296209"/>
                <a:gd name="connsiteX1" fmla="*/ 7864475 w 7864475"/>
                <a:gd name="connsiteY1" fmla="*/ 0 h 3296209"/>
                <a:gd name="connsiteX2" fmla="*/ 6397625 w 7864475"/>
                <a:gd name="connsiteY2" fmla="*/ 1628775 h 3296209"/>
                <a:gd name="connsiteX3" fmla="*/ 5264150 w 7864475"/>
                <a:gd name="connsiteY3" fmla="*/ 1628775 h 3296209"/>
                <a:gd name="connsiteX4" fmla="*/ 4606925 w 7864475"/>
                <a:gd name="connsiteY4" fmla="*/ 2390775 h 3296209"/>
                <a:gd name="connsiteX5" fmla="*/ 2054225 w 7864475"/>
                <a:gd name="connsiteY5" fmla="*/ 3267075 h 3296209"/>
                <a:gd name="connsiteX6" fmla="*/ 873125 w 7864475"/>
                <a:gd name="connsiteY6" fmla="*/ 3086100 h 3296209"/>
                <a:gd name="connsiteX7" fmla="*/ 644525 w 7864475"/>
                <a:gd name="connsiteY7" fmla="*/ 3057525 h 3296209"/>
                <a:gd name="connsiteX8" fmla="*/ 549275 w 7864475"/>
                <a:gd name="connsiteY8" fmla="*/ 3028950 h 3296209"/>
                <a:gd name="connsiteX9" fmla="*/ 520700 w 7864475"/>
                <a:gd name="connsiteY9" fmla="*/ 3019425 h 3296209"/>
                <a:gd name="connsiteX10" fmla="*/ 492125 w 7864475"/>
                <a:gd name="connsiteY10" fmla="*/ 3009900 h 3296209"/>
                <a:gd name="connsiteX11" fmla="*/ 425450 w 7864475"/>
                <a:gd name="connsiteY11" fmla="*/ 2971800 h 3296209"/>
                <a:gd name="connsiteX12" fmla="*/ 368300 w 7864475"/>
                <a:gd name="connsiteY12" fmla="*/ 2952750 h 3296209"/>
                <a:gd name="connsiteX13" fmla="*/ 25400 w 7864475"/>
                <a:gd name="connsiteY13" fmla="*/ 2752725 h 3296209"/>
                <a:gd name="connsiteX14" fmla="*/ 25400 w 7864475"/>
                <a:gd name="connsiteY14" fmla="*/ 2743200 h 3296209"/>
                <a:gd name="connsiteX15" fmla="*/ 34925 w 7864475"/>
                <a:gd name="connsiteY15" fmla="*/ 0 h 3296209"/>
                <a:gd name="connsiteX16" fmla="*/ 34925 w 7864475"/>
                <a:gd name="connsiteY16" fmla="*/ 0 h 3296209"/>
                <a:gd name="connsiteX17" fmla="*/ 34925 w 7864475"/>
                <a:gd name="connsiteY17" fmla="*/ 0 h 3296209"/>
                <a:gd name="connsiteX0" fmla="*/ 101600 w 7864475"/>
                <a:gd name="connsiteY0" fmla="*/ 0 h 3292904"/>
                <a:gd name="connsiteX1" fmla="*/ 7864475 w 7864475"/>
                <a:gd name="connsiteY1" fmla="*/ 0 h 3292904"/>
                <a:gd name="connsiteX2" fmla="*/ 6397625 w 7864475"/>
                <a:gd name="connsiteY2" fmla="*/ 1628775 h 3292904"/>
                <a:gd name="connsiteX3" fmla="*/ 5264150 w 7864475"/>
                <a:gd name="connsiteY3" fmla="*/ 1628775 h 3292904"/>
                <a:gd name="connsiteX4" fmla="*/ 4606925 w 7864475"/>
                <a:gd name="connsiteY4" fmla="*/ 2390775 h 3292904"/>
                <a:gd name="connsiteX5" fmla="*/ 2054225 w 7864475"/>
                <a:gd name="connsiteY5" fmla="*/ 3267075 h 3292904"/>
                <a:gd name="connsiteX6" fmla="*/ 644525 w 7864475"/>
                <a:gd name="connsiteY6" fmla="*/ 3057525 h 3292904"/>
                <a:gd name="connsiteX7" fmla="*/ 549275 w 7864475"/>
                <a:gd name="connsiteY7" fmla="*/ 3028950 h 3292904"/>
                <a:gd name="connsiteX8" fmla="*/ 520700 w 7864475"/>
                <a:gd name="connsiteY8" fmla="*/ 3019425 h 3292904"/>
                <a:gd name="connsiteX9" fmla="*/ 492125 w 7864475"/>
                <a:gd name="connsiteY9" fmla="*/ 3009900 h 3292904"/>
                <a:gd name="connsiteX10" fmla="*/ 425450 w 7864475"/>
                <a:gd name="connsiteY10" fmla="*/ 2971800 h 3292904"/>
                <a:gd name="connsiteX11" fmla="*/ 368300 w 7864475"/>
                <a:gd name="connsiteY11" fmla="*/ 2952750 h 3292904"/>
                <a:gd name="connsiteX12" fmla="*/ 25400 w 7864475"/>
                <a:gd name="connsiteY12" fmla="*/ 2752725 h 3292904"/>
                <a:gd name="connsiteX13" fmla="*/ 25400 w 7864475"/>
                <a:gd name="connsiteY13" fmla="*/ 2743200 h 3292904"/>
                <a:gd name="connsiteX14" fmla="*/ 34925 w 7864475"/>
                <a:gd name="connsiteY14" fmla="*/ 0 h 3292904"/>
                <a:gd name="connsiteX15" fmla="*/ 34925 w 7864475"/>
                <a:gd name="connsiteY15" fmla="*/ 0 h 3292904"/>
                <a:gd name="connsiteX16" fmla="*/ 34925 w 7864475"/>
                <a:gd name="connsiteY16" fmla="*/ 0 h 3292904"/>
                <a:gd name="connsiteX0" fmla="*/ 101600 w 7864475"/>
                <a:gd name="connsiteY0" fmla="*/ 0 h 3292904"/>
                <a:gd name="connsiteX1" fmla="*/ 7864475 w 7864475"/>
                <a:gd name="connsiteY1" fmla="*/ 0 h 3292904"/>
                <a:gd name="connsiteX2" fmla="*/ 6397625 w 7864475"/>
                <a:gd name="connsiteY2" fmla="*/ 1628775 h 3292904"/>
                <a:gd name="connsiteX3" fmla="*/ 5264150 w 7864475"/>
                <a:gd name="connsiteY3" fmla="*/ 1628775 h 3292904"/>
                <a:gd name="connsiteX4" fmla="*/ 4606925 w 7864475"/>
                <a:gd name="connsiteY4" fmla="*/ 2390775 h 3292904"/>
                <a:gd name="connsiteX5" fmla="*/ 2054225 w 7864475"/>
                <a:gd name="connsiteY5" fmla="*/ 3267075 h 3292904"/>
                <a:gd name="connsiteX6" fmla="*/ 644525 w 7864475"/>
                <a:gd name="connsiteY6" fmla="*/ 3057525 h 3292904"/>
                <a:gd name="connsiteX7" fmla="*/ 549275 w 7864475"/>
                <a:gd name="connsiteY7" fmla="*/ 3028950 h 3292904"/>
                <a:gd name="connsiteX8" fmla="*/ 520700 w 7864475"/>
                <a:gd name="connsiteY8" fmla="*/ 3019425 h 3292904"/>
                <a:gd name="connsiteX9" fmla="*/ 492125 w 7864475"/>
                <a:gd name="connsiteY9" fmla="*/ 3009900 h 3292904"/>
                <a:gd name="connsiteX10" fmla="*/ 425450 w 7864475"/>
                <a:gd name="connsiteY10" fmla="*/ 2971800 h 3292904"/>
                <a:gd name="connsiteX11" fmla="*/ 368300 w 7864475"/>
                <a:gd name="connsiteY11" fmla="*/ 2952750 h 3292904"/>
                <a:gd name="connsiteX12" fmla="*/ 25400 w 7864475"/>
                <a:gd name="connsiteY12" fmla="*/ 2752725 h 3292904"/>
                <a:gd name="connsiteX13" fmla="*/ 25400 w 7864475"/>
                <a:gd name="connsiteY13" fmla="*/ 2743200 h 3292904"/>
                <a:gd name="connsiteX14" fmla="*/ 34925 w 7864475"/>
                <a:gd name="connsiteY14" fmla="*/ 0 h 3292904"/>
                <a:gd name="connsiteX15" fmla="*/ 34925 w 7864475"/>
                <a:gd name="connsiteY15" fmla="*/ 0 h 3292904"/>
                <a:gd name="connsiteX16" fmla="*/ 34925 w 7864475"/>
                <a:gd name="connsiteY16" fmla="*/ 0 h 3292904"/>
                <a:gd name="connsiteX0" fmla="*/ 101600 w 7864475"/>
                <a:gd name="connsiteY0" fmla="*/ 0 h 3267075"/>
                <a:gd name="connsiteX1" fmla="*/ 7864475 w 7864475"/>
                <a:gd name="connsiteY1" fmla="*/ 0 h 3267075"/>
                <a:gd name="connsiteX2" fmla="*/ 6397625 w 7864475"/>
                <a:gd name="connsiteY2" fmla="*/ 1628775 h 3267075"/>
                <a:gd name="connsiteX3" fmla="*/ 5264150 w 7864475"/>
                <a:gd name="connsiteY3" fmla="*/ 1628775 h 3267075"/>
                <a:gd name="connsiteX4" fmla="*/ 4606925 w 7864475"/>
                <a:gd name="connsiteY4" fmla="*/ 2390775 h 3267075"/>
                <a:gd name="connsiteX5" fmla="*/ 2054225 w 7864475"/>
                <a:gd name="connsiteY5" fmla="*/ 3267075 h 3267075"/>
                <a:gd name="connsiteX6" fmla="*/ 549275 w 7864475"/>
                <a:gd name="connsiteY6" fmla="*/ 3028950 h 3267075"/>
                <a:gd name="connsiteX7" fmla="*/ 520700 w 7864475"/>
                <a:gd name="connsiteY7" fmla="*/ 3019425 h 3267075"/>
                <a:gd name="connsiteX8" fmla="*/ 492125 w 7864475"/>
                <a:gd name="connsiteY8" fmla="*/ 3009900 h 3267075"/>
                <a:gd name="connsiteX9" fmla="*/ 425450 w 7864475"/>
                <a:gd name="connsiteY9" fmla="*/ 2971800 h 3267075"/>
                <a:gd name="connsiteX10" fmla="*/ 368300 w 7864475"/>
                <a:gd name="connsiteY10" fmla="*/ 2952750 h 3267075"/>
                <a:gd name="connsiteX11" fmla="*/ 25400 w 7864475"/>
                <a:gd name="connsiteY11" fmla="*/ 2752725 h 3267075"/>
                <a:gd name="connsiteX12" fmla="*/ 25400 w 7864475"/>
                <a:gd name="connsiteY12" fmla="*/ 2743200 h 3267075"/>
                <a:gd name="connsiteX13" fmla="*/ 34925 w 7864475"/>
                <a:gd name="connsiteY13" fmla="*/ 0 h 3267075"/>
                <a:gd name="connsiteX14" fmla="*/ 34925 w 7864475"/>
                <a:gd name="connsiteY14" fmla="*/ 0 h 3267075"/>
                <a:gd name="connsiteX15" fmla="*/ 34925 w 7864475"/>
                <a:gd name="connsiteY15" fmla="*/ 0 h 3267075"/>
                <a:gd name="connsiteX0" fmla="*/ 101600 w 7864475"/>
                <a:gd name="connsiteY0" fmla="*/ 0 h 3267075"/>
                <a:gd name="connsiteX1" fmla="*/ 7864475 w 7864475"/>
                <a:gd name="connsiteY1" fmla="*/ 0 h 3267075"/>
                <a:gd name="connsiteX2" fmla="*/ 6397625 w 7864475"/>
                <a:gd name="connsiteY2" fmla="*/ 1628775 h 3267075"/>
                <a:gd name="connsiteX3" fmla="*/ 5264150 w 7864475"/>
                <a:gd name="connsiteY3" fmla="*/ 1628775 h 3267075"/>
                <a:gd name="connsiteX4" fmla="*/ 4606925 w 7864475"/>
                <a:gd name="connsiteY4" fmla="*/ 2390775 h 3267075"/>
                <a:gd name="connsiteX5" fmla="*/ 2054225 w 7864475"/>
                <a:gd name="connsiteY5" fmla="*/ 3267075 h 3267075"/>
                <a:gd name="connsiteX6" fmla="*/ 549275 w 7864475"/>
                <a:gd name="connsiteY6" fmla="*/ 3028950 h 3267075"/>
                <a:gd name="connsiteX7" fmla="*/ 520700 w 7864475"/>
                <a:gd name="connsiteY7" fmla="*/ 3019425 h 3267075"/>
                <a:gd name="connsiteX8" fmla="*/ 425450 w 7864475"/>
                <a:gd name="connsiteY8" fmla="*/ 2971800 h 3267075"/>
                <a:gd name="connsiteX9" fmla="*/ 368300 w 7864475"/>
                <a:gd name="connsiteY9" fmla="*/ 2952750 h 3267075"/>
                <a:gd name="connsiteX10" fmla="*/ 25400 w 7864475"/>
                <a:gd name="connsiteY10" fmla="*/ 2752725 h 3267075"/>
                <a:gd name="connsiteX11" fmla="*/ 25400 w 7864475"/>
                <a:gd name="connsiteY11" fmla="*/ 2743200 h 3267075"/>
                <a:gd name="connsiteX12" fmla="*/ 34925 w 7864475"/>
                <a:gd name="connsiteY12" fmla="*/ 0 h 3267075"/>
                <a:gd name="connsiteX13" fmla="*/ 34925 w 7864475"/>
                <a:gd name="connsiteY13" fmla="*/ 0 h 3267075"/>
                <a:gd name="connsiteX14" fmla="*/ 34925 w 7864475"/>
                <a:gd name="connsiteY14" fmla="*/ 0 h 3267075"/>
                <a:gd name="connsiteX0" fmla="*/ 101600 w 7864475"/>
                <a:gd name="connsiteY0" fmla="*/ 0 h 3267075"/>
                <a:gd name="connsiteX1" fmla="*/ 7864475 w 7864475"/>
                <a:gd name="connsiteY1" fmla="*/ 0 h 3267075"/>
                <a:gd name="connsiteX2" fmla="*/ 6397625 w 7864475"/>
                <a:gd name="connsiteY2" fmla="*/ 1628775 h 3267075"/>
                <a:gd name="connsiteX3" fmla="*/ 5264150 w 7864475"/>
                <a:gd name="connsiteY3" fmla="*/ 1628775 h 3267075"/>
                <a:gd name="connsiteX4" fmla="*/ 4606925 w 7864475"/>
                <a:gd name="connsiteY4" fmla="*/ 2390775 h 3267075"/>
                <a:gd name="connsiteX5" fmla="*/ 2054225 w 7864475"/>
                <a:gd name="connsiteY5" fmla="*/ 3267075 h 3267075"/>
                <a:gd name="connsiteX6" fmla="*/ 549275 w 7864475"/>
                <a:gd name="connsiteY6" fmla="*/ 3028950 h 3267075"/>
                <a:gd name="connsiteX7" fmla="*/ 425450 w 7864475"/>
                <a:gd name="connsiteY7" fmla="*/ 2971800 h 3267075"/>
                <a:gd name="connsiteX8" fmla="*/ 368300 w 7864475"/>
                <a:gd name="connsiteY8" fmla="*/ 2952750 h 3267075"/>
                <a:gd name="connsiteX9" fmla="*/ 25400 w 7864475"/>
                <a:gd name="connsiteY9" fmla="*/ 2752725 h 3267075"/>
                <a:gd name="connsiteX10" fmla="*/ 25400 w 7864475"/>
                <a:gd name="connsiteY10" fmla="*/ 2743200 h 3267075"/>
                <a:gd name="connsiteX11" fmla="*/ 34925 w 7864475"/>
                <a:gd name="connsiteY11" fmla="*/ 0 h 3267075"/>
                <a:gd name="connsiteX12" fmla="*/ 34925 w 7864475"/>
                <a:gd name="connsiteY12" fmla="*/ 0 h 3267075"/>
                <a:gd name="connsiteX13" fmla="*/ 34925 w 7864475"/>
                <a:gd name="connsiteY13" fmla="*/ 0 h 3267075"/>
                <a:gd name="connsiteX0" fmla="*/ 105833 w 7868708"/>
                <a:gd name="connsiteY0" fmla="*/ 0 h 3267075"/>
                <a:gd name="connsiteX1" fmla="*/ 7868708 w 7868708"/>
                <a:gd name="connsiteY1" fmla="*/ 0 h 3267075"/>
                <a:gd name="connsiteX2" fmla="*/ 6401858 w 7868708"/>
                <a:gd name="connsiteY2" fmla="*/ 1628775 h 3267075"/>
                <a:gd name="connsiteX3" fmla="*/ 5268383 w 7868708"/>
                <a:gd name="connsiteY3" fmla="*/ 1628775 h 3267075"/>
                <a:gd name="connsiteX4" fmla="*/ 4611158 w 7868708"/>
                <a:gd name="connsiteY4" fmla="*/ 2390775 h 3267075"/>
                <a:gd name="connsiteX5" fmla="*/ 2058458 w 7868708"/>
                <a:gd name="connsiteY5" fmla="*/ 3267075 h 3267075"/>
                <a:gd name="connsiteX6" fmla="*/ 553508 w 7868708"/>
                <a:gd name="connsiteY6" fmla="*/ 3028950 h 3267075"/>
                <a:gd name="connsiteX7" fmla="*/ 429683 w 7868708"/>
                <a:gd name="connsiteY7" fmla="*/ 2971800 h 3267075"/>
                <a:gd name="connsiteX8" fmla="*/ 29633 w 7868708"/>
                <a:gd name="connsiteY8" fmla="*/ 2752725 h 3267075"/>
                <a:gd name="connsiteX9" fmla="*/ 29633 w 7868708"/>
                <a:gd name="connsiteY9" fmla="*/ 2743200 h 3267075"/>
                <a:gd name="connsiteX10" fmla="*/ 39158 w 7868708"/>
                <a:gd name="connsiteY10" fmla="*/ 0 h 3267075"/>
                <a:gd name="connsiteX11" fmla="*/ 39158 w 7868708"/>
                <a:gd name="connsiteY11" fmla="*/ 0 h 3267075"/>
                <a:gd name="connsiteX12" fmla="*/ 39158 w 7868708"/>
                <a:gd name="connsiteY12" fmla="*/ 0 h 3267075"/>
                <a:gd name="connsiteX0" fmla="*/ 115005 w 7877880"/>
                <a:gd name="connsiteY0" fmla="*/ 0 h 3267075"/>
                <a:gd name="connsiteX1" fmla="*/ 7877880 w 7877880"/>
                <a:gd name="connsiteY1" fmla="*/ 0 h 3267075"/>
                <a:gd name="connsiteX2" fmla="*/ 6411030 w 7877880"/>
                <a:gd name="connsiteY2" fmla="*/ 1628775 h 3267075"/>
                <a:gd name="connsiteX3" fmla="*/ 5277555 w 7877880"/>
                <a:gd name="connsiteY3" fmla="*/ 1628775 h 3267075"/>
                <a:gd name="connsiteX4" fmla="*/ 4620330 w 7877880"/>
                <a:gd name="connsiteY4" fmla="*/ 2390775 h 3267075"/>
                <a:gd name="connsiteX5" fmla="*/ 2067630 w 7877880"/>
                <a:gd name="connsiteY5" fmla="*/ 3267075 h 3267075"/>
                <a:gd name="connsiteX6" fmla="*/ 562680 w 7877880"/>
                <a:gd name="connsiteY6" fmla="*/ 3028950 h 3267075"/>
                <a:gd name="connsiteX7" fmla="*/ 38805 w 7877880"/>
                <a:gd name="connsiteY7" fmla="*/ 2752725 h 3267075"/>
                <a:gd name="connsiteX8" fmla="*/ 38805 w 7877880"/>
                <a:gd name="connsiteY8" fmla="*/ 2743200 h 3267075"/>
                <a:gd name="connsiteX9" fmla="*/ 48330 w 7877880"/>
                <a:gd name="connsiteY9" fmla="*/ 0 h 3267075"/>
                <a:gd name="connsiteX10" fmla="*/ 48330 w 7877880"/>
                <a:gd name="connsiteY10" fmla="*/ 0 h 3267075"/>
                <a:gd name="connsiteX11" fmla="*/ 48330 w 7877880"/>
                <a:gd name="connsiteY11" fmla="*/ 0 h 3267075"/>
                <a:gd name="connsiteX0" fmla="*/ 115005 w 7877880"/>
                <a:gd name="connsiteY0" fmla="*/ 0 h 3292320"/>
                <a:gd name="connsiteX1" fmla="*/ 7877880 w 7877880"/>
                <a:gd name="connsiteY1" fmla="*/ 0 h 3292320"/>
                <a:gd name="connsiteX2" fmla="*/ 6411030 w 7877880"/>
                <a:gd name="connsiteY2" fmla="*/ 1628775 h 3292320"/>
                <a:gd name="connsiteX3" fmla="*/ 5277555 w 7877880"/>
                <a:gd name="connsiteY3" fmla="*/ 1628775 h 3292320"/>
                <a:gd name="connsiteX4" fmla="*/ 4620330 w 7877880"/>
                <a:gd name="connsiteY4" fmla="*/ 2390775 h 3292320"/>
                <a:gd name="connsiteX5" fmla="*/ 2067630 w 7877880"/>
                <a:gd name="connsiteY5" fmla="*/ 3267075 h 3292320"/>
                <a:gd name="connsiteX6" fmla="*/ 562680 w 7877880"/>
                <a:gd name="connsiteY6" fmla="*/ 3028950 h 3292320"/>
                <a:gd name="connsiteX7" fmla="*/ 38805 w 7877880"/>
                <a:gd name="connsiteY7" fmla="*/ 2752725 h 3292320"/>
                <a:gd name="connsiteX8" fmla="*/ 38805 w 7877880"/>
                <a:gd name="connsiteY8" fmla="*/ 2743200 h 3292320"/>
                <a:gd name="connsiteX9" fmla="*/ 48330 w 7877880"/>
                <a:gd name="connsiteY9" fmla="*/ 0 h 3292320"/>
                <a:gd name="connsiteX10" fmla="*/ 48330 w 7877880"/>
                <a:gd name="connsiteY10" fmla="*/ 0 h 3292320"/>
                <a:gd name="connsiteX11" fmla="*/ 48330 w 7877880"/>
                <a:gd name="connsiteY11" fmla="*/ 0 h 3292320"/>
                <a:gd name="connsiteX0" fmla="*/ 115005 w 7877880"/>
                <a:gd name="connsiteY0" fmla="*/ 0 h 3341037"/>
                <a:gd name="connsiteX1" fmla="*/ 7877880 w 7877880"/>
                <a:gd name="connsiteY1" fmla="*/ 0 h 3341037"/>
                <a:gd name="connsiteX2" fmla="*/ 6411030 w 7877880"/>
                <a:gd name="connsiteY2" fmla="*/ 1628775 h 3341037"/>
                <a:gd name="connsiteX3" fmla="*/ 5277555 w 7877880"/>
                <a:gd name="connsiteY3" fmla="*/ 1628775 h 3341037"/>
                <a:gd name="connsiteX4" fmla="*/ 2067630 w 7877880"/>
                <a:gd name="connsiteY4" fmla="*/ 3267075 h 3341037"/>
                <a:gd name="connsiteX5" fmla="*/ 562680 w 7877880"/>
                <a:gd name="connsiteY5" fmla="*/ 3028950 h 3341037"/>
                <a:gd name="connsiteX6" fmla="*/ 38805 w 7877880"/>
                <a:gd name="connsiteY6" fmla="*/ 2752725 h 3341037"/>
                <a:gd name="connsiteX7" fmla="*/ 38805 w 7877880"/>
                <a:gd name="connsiteY7" fmla="*/ 2743200 h 3341037"/>
                <a:gd name="connsiteX8" fmla="*/ 48330 w 7877880"/>
                <a:gd name="connsiteY8" fmla="*/ 0 h 3341037"/>
                <a:gd name="connsiteX9" fmla="*/ 48330 w 7877880"/>
                <a:gd name="connsiteY9" fmla="*/ 0 h 3341037"/>
                <a:gd name="connsiteX10" fmla="*/ 48330 w 7877880"/>
                <a:gd name="connsiteY10" fmla="*/ 0 h 3341037"/>
                <a:gd name="connsiteX0" fmla="*/ 115005 w 7877880"/>
                <a:gd name="connsiteY0" fmla="*/ 0 h 3226122"/>
                <a:gd name="connsiteX1" fmla="*/ 7877880 w 7877880"/>
                <a:gd name="connsiteY1" fmla="*/ 0 h 3226122"/>
                <a:gd name="connsiteX2" fmla="*/ 6411030 w 7877880"/>
                <a:gd name="connsiteY2" fmla="*/ 1628775 h 3226122"/>
                <a:gd name="connsiteX3" fmla="*/ 5277555 w 7877880"/>
                <a:gd name="connsiteY3" fmla="*/ 1628775 h 3226122"/>
                <a:gd name="connsiteX4" fmla="*/ 3086805 w 7877880"/>
                <a:gd name="connsiteY4" fmla="*/ 3133725 h 3226122"/>
                <a:gd name="connsiteX5" fmla="*/ 562680 w 7877880"/>
                <a:gd name="connsiteY5" fmla="*/ 3028950 h 3226122"/>
                <a:gd name="connsiteX6" fmla="*/ 38805 w 7877880"/>
                <a:gd name="connsiteY6" fmla="*/ 2752725 h 3226122"/>
                <a:gd name="connsiteX7" fmla="*/ 38805 w 7877880"/>
                <a:gd name="connsiteY7" fmla="*/ 2743200 h 3226122"/>
                <a:gd name="connsiteX8" fmla="*/ 48330 w 7877880"/>
                <a:gd name="connsiteY8" fmla="*/ 0 h 3226122"/>
                <a:gd name="connsiteX9" fmla="*/ 48330 w 7877880"/>
                <a:gd name="connsiteY9" fmla="*/ 0 h 3226122"/>
                <a:gd name="connsiteX10" fmla="*/ 48330 w 7877880"/>
                <a:gd name="connsiteY10" fmla="*/ 0 h 3226122"/>
                <a:gd name="connsiteX0" fmla="*/ 115005 w 7877880"/>
                <a:gd name="connsiteY0" fmla="*/ 0 h 3223170"/>
                <a:gd name="connsiteX1" fmla="*/ 7877880 w 7877880"/>
                <a:gd name="connsiteY1" fmla="*/ 0 h 3223170"/>
                <a:gd name="connsiteX2" fmla="*/ 6411030 w 7877880"/>
                <a:gd name="connsiteY2" fmla="*/ 1628775 h 3223170"/>
                <a:gd name="connsiteX3" fmla="*/ 5277555 w 7877880"/>
                <a:gd name="connsiteY3" fmla="*/ 1628775 h 3223170"/>
                <a:gd name="connsiteX4" fmla="*/ 3086805 w 7877880"/>
                <a:gd name="connsiteY4" fmla="*/ 3133725 h 3223170"/>
                <a:gd name="connsiteX5" fmla="*/ 562680 w 7877880"/>
                <a:gd name="connsiteY5" fmla="*/ 3028950 h 3223170"/>
                <a:gd name="connsiteX6" fmla="*/ 38805 w 7877880"/>
                <a:gd name="connsiteY6" fmla="*/ 2752725 h 3223170"/>
                <a:gd name="connsiteX7" fmla="*/ 38805 w 7877880"/>
                <a:gd name="connsiteY7" fmla="*/ 2743200 h 3223170"/>
                <a:gd name="connsiteX8" fmla="*/ 48330 w 7877880"/>
                <a:gd name="connsiteY8" fmla="*/ 0 h 3223170"/>
                <a:gd name="connsiteX9" fmla="*/ 48330 w 7877880"/>
                <a:gd name="connsiteY9" fmla="*/ 0 h 3223170"/>
                <a:gd name="connsiteX10" fmla="*/ 48330 w 7877880"/>
                <a:gd name="connsiteY10" fmla="*/ 0 h 3223170"/>
                <a:gd name="connsiteX0" fmla="*/ 115005 w 7877880"/>
                <a:gd name="connsiteY0" fmla="*/ 0 h 3223170"/>
                <a:gd name="connsiteX1" fmla="*/ 7877880 w 7877880"/>
                <a:gd name="connsiteY1" fmla="*/ 0 h 3223170"/>
                <a:gd name="connsiteX2" fmla="*/ 6411030 w 7877880"/>
                <a:gd name="connsiteY2" fmla="*/ 1628775 h 3223170"/>
                <a:gd name="connsiteX3" fmla="*/ 5277555 w 7877880"/>
                <a:gd name="connsiteY3" fmla="*/ 1628775 h 3223170"/>
                <a:gd name="connsiteX4" fmla="*/ 3086805 w 7877880"/>
                <a:gd name="connsiteY4" fmla="*/ 3133725 h 3223170"/>
                <a:gd name="connsiteX5" fmla="*/ 562680 w 7877880"/>
                <a:gd name="connsiteY5" fmla="*/ 3028950 h 3223170"/>
                <a:gd name="connsiteX6" fmla="*/ 38805 w 7877880"/>
                <a:gd name="connsiteY6" fmla="*/ 2752725 h 3223170"/>
                <a:gd name="connsiteX7" fmla="*/ 38805 w 7877880"/>
                <a:gd name="connsiteY7" fmla="*/ 2743200 h 3223170"/>
                <a:gd name="connsiteX8" fmla="*/ 48330 w 7877880"/>
                <a:gd name="connsiteY8" fmla="*/ 0 h 3223170"/>
                <a:gd name="connsiteX9" fmla="*/ 48330 w 7877880"/>
                <a:gd name="connsiteY9" fmla="*/ 0 h 3223170"/>
                <a:gd name="connsiteX10" fmla="*/ 48330 w 7877880"/>
                <a:gd name="connsiteY10" fmla="*/ 0 h 3223170"/>
                <a:gd name="connsiteX0" fmla="*/ 115005 w 7877880"/>
                <a:gd name="connsiteY0" fmla="*/ 0 h 3247106"/>
                <a:gd name="connsiteX1" fmla="*/ 7877880 w 7877880"/>
                <a:gd name="connsiteY1" fmla="*/ 0 h 3247106"/>
                <a:gd name="connsiteX2" fmla="*/ 6411030 w 7877880"/>
                <a:gd name="connsiteY2" fmla="*/ 1628775 h 3247106"/>
                <a:gd name="connsiteX3" fmla="*/ 5277555 w 7877880"/>
                <a:gd name="connsiteY3" fmla="*/ 1628775 h 3247106"/>
                <a:gd name="connsiteX4" fmla="*/ 3039180 w 7877880"/>
                <a:gd name="connsiteY4" fmla="*/ 3162300 h 3247106"/>
                <a:gd name="connsiteX5" fmla="*/ 562680 w 7877880"/>
                <a:gd name="connsiteY5" fmla="*/ 3028950 h 3247106"/>
                <a:gd name="connsiteX6" fmla="*/ 38805 w 7877880"/>
                <a:gd name="connsiteY6" fmla="*/ 2752725 h 3247106"/>
                <a:gd name="connsiteX7" fmla="*/ 38805 w 7877880"/>
                <a:gd name="connsiteY7" fmla="*/ 2743200 h 3247106"/>
                <a:gd name="connsiteX8" fmla="*/ 48330 w 7877880"/>
                <a:gd name="connsiteY8" fmla="*/ 0 h 3247106"/>
                <a:gd name="connsiteX9" fmla="*/ 48330 w 7877880"/>
                <a:gd name="connsiteY9" fmla="*/ 0 h 3247106"/>
                <a:gd name="connsiteX10" fmla="*/ 48330 w 7877880"/>
                <a:gd name="connsiteY10" fmla="*/ 0 h 3247106"/>
                <a:gd name="connsiteX0" fmla="*/ 115005 w 7877880"/>
                <a:gd name="connsiteY0" fmla="*/ 0 h 3246866"/>
                <a:gd name="connsiteX1" fmla="*/ 7877880 w 7877880"/>
                <a:gd name="connsiteY1" fmla="*/ 0 h 3246866"/>
                <a:gd name="connsiteX2" fmla="*/ 6411030 w 7877880"/>
                <a:gd name="connsiteY2" fmla="*/ 1628775 h 3246866"/>
                <a:gd name="connsiteX3" fmla="*/ 5277555 w 7877880"/>
                <a:gd name="connsiteY3" fmla="*/ 1628775 h 3246866"/>
                <a:gd name="connsiteX4" fmla="*/ 3039180 w 7877880"/>
                <a:gd name="connsiteY4" fmla="*/ 3162300 h 3246866"/>
                <a:gd name="connsiteX5" fmla="*/ 562680 w 7877880"/>
                <a:gd name="connsiteY5" fmla="*/ 3028950 h 3246866"/>
                <a:gd name="connsiteX6" fmla="*/ 38805 w 7877880"/>
                <a:gd name="connsiteY6" fmla="*/ 2752725 h 3246866"/>
                <a:gd name="connsiteX7" fmla="*/ 38805 w 7877880"/>
                <a:gd name="connsiteY7" fmla="*/ 2743200 h 3246866"/>
                <a:gd name="connsiteX8" fmla="*/ 48330 w 7877880"/>
                <a:gd name="connsiteY8" fmla="*/ 0 h 3246866"/>
                <a:gd name="connsiteX9" fmla="*/ 48330 w 7877880"/>
                <a:gd name="connsiteY9" fmla="*/ 0 h 3246866"/>
                <a:gd name="connsiteX10" fmla="*/ 48330 w 7877880"/>
                <a:gd name="connsiteY10" fmla="*/ 0 h 3246866"/>
                <a:gd name="connsiteX0" fmla="*/ 115005 w 7877880"/>
                <a:gd name="connsiteY0" fmla="*/ 0 h 3263770"/>
                <a:gd name="connsiteX1" fmla="*/ 7877880 w 7877880"/>
                <a:gd name="connsiteY1" fmla="*/ 0 h 3263770"/>
                <a:gd name="connsiteX2" fmla="*/ 6411030 w 7877880"/>
                <a:gd name="connsiteY2" fmla="*/ 1628775 h 3263770"/>
                <a:gd name="connsiteX3" fmla="*/ 5277555 w 7877880"/>
                <a:gd name="connsiteY3" fmla="*/ 1628775 h 3263770"/>
                <a:gd name="connsiteX4" fmla="*/ 3039180 w 7877880"/>
                <a:gd name="connsiteY4" fmla="*/ 3162300 h 3263770"/>
                <a:gd name="connsiteX5" fmla="*/ 562680 w 7877880"/>
                <a:gd name="connsiteY5" fmla="*/ 3028950 h 3263770"/>
                <a:gd name="connsiteX6" fmla="*/ 38805 w 7877880"/>
                <a:gd name="connsiteY6" fmla="*/ 2752725 h 3263770"/>
                <a:gd name="connsiteX7" fmla="*/ 38805 w 7877880"/>
                <a:gd name="connsiteY7" fmla="*/ 2743200 h 3263770"/>
                <a:gd name="connsiteX8" fmla="*/ 48330 w 7877880"/>
                <a:gd name="connsiteY8" fmla="*/ 0 h 3263770"/>
                <a:gd name="connsiteX9" fmla="*/ 48330 w 7877880"/>
                <a:gd name="connsiteY9" fmla="*/ 0 h 3263770"/>
                <a:gd name="connsiteX10" fmla="*/ 48330 w 7877880"/>
                <a:gd name="connsiteY10" fmla="*/ 0 h 3263770"/>
                <a:gd name="connsiteX0" fmla="*/ 136172 w 7899047"/>
                <a:gd name="connsiteY0" fmla="*/ 0 h 3287025"/>
                <a:gd name="connsiteX1" fmla="*/ 7899047 w 7899047"/>
                <a:gd name="connsiteY1" fmla="*/ 0 h 3287025"/>
                <a:gd name="connsiteX2" fmla="*/ 6432197 w 7899047"/>
                <a:gd name="connsiteY2" fmla="*/ 1628775 h 3287025"/>
                <a:gd name="connsiteX3" fmla="*/ 5298722 w 7899047"/>
                <a:gd name="connsiteY3" fmla="*/ 1628775 h 3287025"/>
                <a:gd name="connsiteX4" fmla="*/ 3060347 w 7899047"/>
                <a:gd name="connsiteY4" fmla="*/ 3162300 h 3287025"/>
                <a:gd name="connsiteX5" fmla="*/ 869597 w 7899047"/>
                <a:gd name="connsiteY5" fmla="*/ 3086100 h 3287025"/>
                <a:gd name="connsiteX6" fmla="*/ 59972 w 7899047"/>
                <a:gd name="connsiteY6" fmla="*/ 2752725 h 3287025"/>
                <a:gd name="connsiteX7" fmla="*/ 59972 w 7899047"/>
                <a:gd name="connsiteY7" fmla="*/ 2743200 h 3287025"/>
                <a:gd name="connsiteX8" fmla="*/ 69497 w 7899047"/>
                <a:gd name="connsiteY8" fmla="*/ 0 h 3287025"/>
                <a:gd name="connsiteX9" fmla="*/ 69497 w 7899047"/>
                <a:gd name="connsiteY9" fmla="*/ 0 h 3287025"/>
                <a:gd name="connsiteX10" fmla="*/ 69497 w 7899047"/>
                <a:gd name="connsiteY10" fmla="*/ 0 h 3287025"/>
                <a:gd name="connsiteX0" fmla="*/ 136172 w 7899047"/>
                <a:gd name="connsiteY0" fmla="*/ 0 h 3245268"/>
                <a:gd name="connsiteX1" fmla="*/ 7899047 w 7899047"/>
                <a:gd name="connsiteY1" fmla="*/ 0 h 3245268"/>
                <a:gd name="connsiteX2" fmla="*/ 6432197 w 7899047"/>
                <a:gd name="connsiteY2" fmla="*/ 1628775 h 3245268"/>
                <a:gd name="connsiteX3" fmla="*/ 5298722 w 7899047"/>
                <a:gd name="connsiteY3" fmla="*/ 1628775 h 3245268"/>
                <a:gd name="connsiteX4" fmla="*/ 3060347 w 7899047"/>
                <a:gd name="connsiteY4" fmla="*/ 3162300 h 3245268"/>
                <a:gd name="connsiteX5" fmla="*/ 869597 w 7899047"/>
                <a:gd name="connsiteY5" fmla="*/ 3086100 h 3245268"/>
                <a:gd name="connsiteX6" fmla="*/ 59972 w 7899047"/>
                <a:gd name="connsiteY6" fmla="*/ 2752725 h 3245268"/>
                <a:gd name="connsiteX7" fmla="*/ 59972 w 7899047"/>
                <a:gd name="connsiteY7" fmla="*/ 2743200 h 3245268"/>
                <a:gd name="connsiteX8" fmla="*/ 69497 w 7899047"/>
                <a:gd name="connsiteY8" fmla="*/ 0 h 3245268"/>
                <a:gd name="connsiteX9" fmla="*/ 69497 w 7899047"/>
                <a:gd name="connsiteY9" fmla="*/ 0 h 3245268"/>
                <a:gd name="connsiteX10" fmla="*/ 69497 w 7899047"/>
                <a:gd name="connsiteY10" fmla="*/ 0 h 3245268"/>
                <a:gd name="connsiteX0" fmla="*/ 136172 w 7899047"/>
                <a:gd name="connsiteY0" fmla="*/ 0 h 3245268"/>
                <a:gd name="connsiteX1" fmla="*/ 7899047 w 7899047"/>
                <a:gd name="connsiteY1" fmla="*/ 0 h 3245268"/>
                <a:gd name="connsiteX2" fmla="*/ 6432197 w 7899047"/>
                <a:gd name="connsiteY2" fmla="*/ 1628775 h 3245268"/>
                <a:gd name="connsiteX3" fmla="*/ 5298722 w 7899047"/>
                <a:gd name="connsiteY3" fmla="*/ 1628775 h 3245268"/>
                <a:gd name="connsiteX4" fmla="*/ 3060347 w 7899047"/>
                <a:gd name="connsiteY4" fmla="*/ 3162300 h 3245268"/>
                <a:gd name="connsiteX5" fmla="*/ 869597 w 7899047"/>
                <a:gd name="connsiteY5" fmla="*/ 3086100 h 3245268"/>
                <a:gd name="connsiteX6" fmla="*/ 59972 w 7899047"/>
                <a:gd name="connsiteY6" fmla="*/ 2752725 h 3245268"/>
                <a:gd name="connsiteX7" fmla="*/ 59972 w 7899047"/>
                <a:gd name="connsiteY7" fmla="*/ 2743200 h 3245268"/>
                <a:gd name="connsiteX8" fmla="*/ 69497 w 7899047"/>
                <a:gd name="connsiteY8" fmla="*/ 0 h 3245268"/>
                <a:gd name="connsiteX9" fmla="*/ 69497 w 7899047"/>
                <a:gd name="connsiteY9" fmla="*/ 0 h 3245268"/>
                <a:gd name="connsiteX10" fmla="*/ 69497 w 7899047"/>
                <a:gd name="connsiteY10" fmla="*/ 0 h 3245268"/>
                <a:gd name="connsiteX0" fmla="*/ 136172 w 7899047"/>
                <a:gd name="connsiteY0" fmla="*/ 0 h 3223853"/>
                <a:gd name="connsiteX1" fmla="*/ 7899047 w 7899047"/>
                <a:gd name="connsiteY1" fmla="*/ 0 h 3223853"/>
                <a:gd name="connsiteX2" fmla="*/ 6432197 w 7899047"/>
                <a:gd name="connsiteY2" fmla="*/ 1628775 h 3223853"/>
                <a:gd name="connsiteX3" fmla="*/ 5298722 w 7899047"/>
                <a:gd name="connsiteY3" fmla="*/ 1628775 h 3223853"/>
                <a:gd name="connsiteX4" fmla="*/ 3041297 w 7899047"/>
                <a:gd name="connsiteY4" fmla="*/ 3162300 h 3223853"/>
                <a:gd name="connsiteX5" fmla="*/ 869597 w 7899047"/>
                <a:gd name="connsiteY5" fmla="*/ 3086100 h 3223853"/>
                <a:gd name="connsiteX6" fmla="*/ 59972 w 7899047"/>
                <a:gd name="connsiteY6" fmla="*/ 2752725 h 3223853"/>
                <a:gd name="connsiteX7" fmla="*/ 59972 w 7899047"/>
                <a:gd name="connsiteY7" fmla="*/ 2743200 h 3223853"/>
                <a:gd name="connsiteX8" fmla="*/ 69497 w 7899047"/>
                <a:gd name="connsiteY8" fmla="*/ 0 h 3223853"/>
                <a:gd name="connsiteX9" fmla="*/ 69497 w 7899047"/>
                <a:gd name="connsiteY9" fmla="*/ 0 h 3223853"/>
                <a:gd name="connsiteX10" fmla="*/ 69497 w 7899047"/>
                <a:gd name="connsiteY10" fmla="*/ 0 h 3223853"/>
                <a:gd name="connsiteX0" fmla="*/ 136172 w 7899047"/>
                <a:gd name="connsiteY0" fmla="*/ 0 h 3266003"/>
                <a:gd name="connsiteX1" fmla="*/ 7899047 w 7899047"/>
                <a:gd name="connsiteY1" fmla="*/ 0 h 3266003"/>
                <a:gd name="connsiteX2" fmla="*/ 6432197 w 7899047"/>
                <a:gd name="connsiteY2" fmla="*/ 1628775 h 3266003"/>
                <a:gd name="connsiteX3" fmla="*/ 5298722 w 7899047"/>
                <a:gd name="connsiteY3" fmla="*/ 1628775 h 3266003"/>
                <a:gd name="connsiteX4" fmla="*/ 3041297 w 7899047"/>
                <a:gd name="connsiteY4" fmla="*/ 3162300 h 3266003"/>
                <a:gd name="connsiteX5" fmla="*/ 869597 w 7899047"/>
                <a:gd name="connsiteY5" fmla="*/ 3086100 h 3266003"/>
                <a:gd name="connsiteX6" fmla="*/ 59972 w 7899047"/>
                <a:gd name="connsiteY6" fmla="*/ 2752725 h 3266003"/>
                <a:gd name="connsiteX7" fmla="*/ 59972 w 7899047"/>
                <a:gd name="connsiteY7" fmla="*/ 2743200 h 3266003"/>
                <a:gd name="connsiteX8" fmla="*/ 69497 w 7899047"/>
                <a:gd name="connsiteY8" fmla="*/ 0 h 3266003"/>
                <a:gd name="connsiteX9" fmla="*/ 69497 w 7899047"/>
                <a:gd name="connsiteY9" fmla="*/ 0 h 3266003"/>
                <a:gd name="connsiteX10" fmla="*/ 69497 w 7899047"/>
                <a:gd name="connsiteY10" fmla="*/ 0 h 3266003"/>
                <a:gd name="connsiteX0" fmla="*/ 297038 w 8059913"/>
                <a:gd name="connsiteY0" fmla="*/ 0 h 3202330"/>
                <a:gd name="connsiteX1" fmla="*/ 8059913 w 8059913"/>
                <a:gd name="connsiteY1" fmla="*/ 0 h 3202330"/>
                <a:gd name="connsiteX2" fmla="*/ 6593063 w 8059913"/>
                <a:gd name="connsiteY2" fmla="*/ 1628775 h 3202330"/>
                <a:gd name="connsiteX3" fmla="*/ 5459588 w 8059913"/>
                <a:gd name="connsiteY3" fmla="*/ 1628775 h 3202330"/>
                <a:gd name="connsiteX4" fmla="*/ 3202163 w 8059913"/>
                <a:gd name="connsiteY4" fmla="*/ 3162300 h 3202330"/>
                <a:gd name="connsiteX5" fmla="*/ 220838 w 8059913"/>
                <a:gd name="connsiteY5" fmla="*/ 2752725 h 3202330"/>
                <a:gd name="connsiteX6" fmla="*/ 220838 w 8059913"/>
                <a:gd name="connsiteY6" fmla="*/ 2743200 h 3202330"/>
                <a:gd name="connsiteX7" fmla="*/ 230363 w 8059913"/>
                <a:gd name="connsiteY7" fmla="*/ 0 h 3202330"/>
                <a:gd name="connsiteX8" fmla="*/ 230363 w 8059913"/>
                <a:gd name="connsiteY8" fmla="*/ 0 h 3202330"/>
                <a:gd name="connsiteX9" fmla="*/ 230363 w 8059913"/>
                <a:gd name="connsiteY9" fmla="*/ 0 h 3202330"/>
                <a:gd name="connsiteX0" fmla="*/ 244123 w 8006998"/>
                <a:gd name="connsiteY0" fmla="*/ 0 h 3238500"/>
                <a:gd name="connsiteX1" fmla="*/ 8006998 w 8006998"/>
                <a:gd name="connsiteY1" fmla="*/ 0 h 3238500"/>
                <a:gd name="connsiteX2" fmla="*/ 6540148 w 8006998"/>
                <a:gd name="connsiteY2" fmla="*/ 1628775 h 3238500"/>
                <a:gd name="connsiteX3" fmla="*/ 5406673 w 8006998"/>
                <a:gd name="connsiteY3" fmla="*/ 1628775 h 3238500"/>
                <a:gd name="connsiteX4" fmla="*/ 2434873 w 8006998"/>
                <a:gd name="connsiteY4" fmla="*/ 3238500 h 3238500"/>
                <a:gd name="connsiteX5" fmla="*/ 167923 w 8006998"/>
                <a:gd name="connsiteY5" fmla="*/ 2752725 h 3238500"/>
                <a:gd name="connsiteX6" fmla="*/ 167923 w 8006998"/>
                <a:gd name="connsiteY6" fmla="*/ 2743200 h 3238500"/>
                <a:gd name="connsiteX7" fmla="*/ 177448 w 8006998"/>
                <a:gd name="connsiteY7" fmla="*/ 0 h 3238500"/>
                <a:gd name="connsiteX8" fmla="*/ 177448 w 8006998"/>
                <a:gd name="connsiteY8" fmla="*/ 0 h 3238500"/>
                <a:gd name="connsiteX9" fmla="*/ 177448 w 8006998"/>
                <a:gd name="connsiteY9" fmla="*/ 0 h 3238500"/>
                <a:gd name="connsiteX0" fmla="*/ 244123 w 8006998"/>
                <a:gd name="connsiteY0" fmla="*/ 0 h 3242774"/>
                <a:gd name="connsiteX1" fmla="*/ 8006998 w 8006998"/>
                <a:gd name="connsiteY1" fmla="*/ 0 h 3242774"/>
                <a:gd name="connsiteX2" fmla="*/ 6540148 w 8006998"/>
                <a:gd name="connsiteY2" fmla="*/ 1628775 h 3242774"/>
                <a:gd name="connsiteX3" fmla="*/ 5406673 w 8006998"/>
                <a:gd name="connsiteY3" fmla="*/ 1628775 h 3242774"/>
                <a:gd name="connsiteX4" fmla="*/ 2434873 w 8006998"/>
                <a:gd name="connsiteY4" fmla="*/ 3238500 h 3242774"/>
                <a:gd name="connsiteX5" fmla="*/ 167923 w 8006998"/>
                <a:gd name="connsiteY5" fmla="*/ 2752725 h 3242774"/>
                <a:gd name="connsiteX6" fmla="*/ 167923 w 8006998"/>
                <a:gd name="connsiteY6" fmla="*/ 2743200 h 3242774"/>
                <a:gd name="connsiteX7" fmla="*/ 177448 w 8006998"/>
                <a:gd name="connsiteY7" fmla="*/ 0 h 3242774"/>
                <a:gd name="connsiteX8" fmla="*/ 177448 w 8006998"/>
                <a:gd name="connsiteY8" fmla="*/ 0 h 3242774"/>
                <a:gd name="connsiteX9" fmla="*/ 177448 w 8006998"/>
                <a:gd name="connsiteY9" fmla="*/ 0 h 3242774"/>
                <a:gd name="connsiteX0" fmla="*/ 244123 w 8006998"/>
                <a:gd name="connsiteY0" fmla="*/ 0 h 3238724"/>
                <a:gd name="connsiteX1" fmla="*/ 8006998 w 8006998"/>
                <a:gd name="connsiteY1" fmla="*/ 0 h 3238724"/>
                <a:gd name="connsiteX2" fmla="*/ 6540148 w 8006998"/>
                <a:gd name="connsiteY2" fmla="*/ 1628775 h 3238724"/>
                <a:gd name="connsiteX3" fmla="*/ 5406673 w 8006998"/>
                <a:gd name="connsiteY3" fmla="*/ 1628775 h 3238724"/>
                <a:gd name="connsiteX4" fmla="*/ 2434873 w 8006998"/>
                <a:gd name="connsiteY4" fmla="*/ 3238500 h 3238724"/>
                <a:gd name="connsiteX5" fmla="*/ 167923 w 8006998"/>
                <a:gd name="connsiteY5" fmla="*/ 2752725 h 3238724"/>
                <a:gd name="connsiteX6" fmla="*/ 167923 w 8006998"/>
                <a:gd name="connsiteY6" fmla="*/ 2743200 h 3238724"/>
                <a:gd name="connsiteX7" fmla="*/ 177448 w 8006998"/>
                <a:gd name="connsiteY7" fmla="*/ 0 h 3238724"/>
                <a:gd name="connsiteX8" fmla="*/ 177448 w 8006998"/>
                <a:gd name="connsiteY8" fmla="*/ 0 h 3238724"/>
                <a:gd name="connsiteX9" fmla="*/ 177448 w 8006998"/>
                <a:gd name="connsiteY9" fmla="*/ 0 h 3238724"/>
                <a:gd name="connsiteX0" fmla="*/ 244123 w 8006998"/>
                <a:gd name="connsiteY0" fmla="*/ 0 h 3238724"/>
                <a:gd name="connsiteX1" fmla="*/ 8006998 w 8006998"/>
                <a:gd name="connsiteY1" fmla="*/ 0 h 3238724"/>
                <a:gd name="connsiteX2" fmla="*/ 6540148 w 8006998"/>
                <a:gd name="connsiteY2" fmla="*/ 1628775 h 3238724"/>
                <a:gd name="connsiteX3" fmla="*/ 5406673 w 8006998"/>
                <a:gd name="connsiteY3" fmla="*/ 1628775 h 3238724"/>
                <a:gd name="connsiteX4" fmla="*/ 2434873 w 8006998"/>
                <a:gd name="connsiteY4" fmla="*/ 3238500 h 3238724"/>
                <a:gd name="connsiteX5" fmla="*/ 167923 w 8006998"/>
                <a:gd name="connsiteY5" fmla="*/ 2752725 h 3238724"/>
                <a:gd name="connsiteX6" fmla="*/ 167923 w 8006998"/>
                <a:gd name="connsiteY6" fmla="*/ 2743200 h 3238724"/>
                <a:gd name="connsiteX7" fmla="*/ 177448 w 8006998"/>
                <a:gd name="connsiteY7" fmla="*/ 0 h 3238724"/>
                <a:gd name="connsiteX8" fmla="*/ 177448 w 8006998"/>
                <a:gd name="connsiteY8" fmla="*/ 0 h 3238724"/>
                <a:gd name="connsiteX9" fmla="*/ 177448 w 8006998"/>
                <a:gd name="connsiteY9" fmla="*/ 0 h 3238724"/>
                <a:gd name="connsiteX0" fmla="*/ 244123 w 8006998"/>
                <a:gd name="connsiteY0" fmla="*/ 0 h 3238682"/>
                <a:gd name="connsiteX1" fmla="*/ 8006998 w 8006998"/>
                <a:gd name="connsiteY1" fmla="*/ 0 h 3238682"/>
                <a:gd name="connsiteX2" fmla="*/ 6540148 w 8006998"/>
                <a:gd name="connsiteY2" fmla="*/ 1628775 h 3238682"/>
                <a:gd name="connsiteX3" fmla="*/ 5406673 w 8006998"/>
                <a:gd name="connsiteY3" fmla="*/ 1628775 h 3238682"/>
                <a:gd name="connsiteX4" fmla="*/ 2434873 w 8006998"/>
                <a:gd name="connsiteY4" fmla="*/ 3238500 h 3238682"/>
                <a:gd name="connsiteX5" fmla="*/ 167923 w 8006998"/>
                <a:gd name="connsiteY5" fmla="*/ 2752725 h 3238682"/>
                <a:gd name="connsiteX6" fmla="*/ 167923 w 8006998"/>
                <a:gd name="connsiteY6" fmla="*/ 2743200 h 3238682"/>
                <a:gd name="connsiteX7" fmla="*/ 177448 w 8006998"/>
                <a:gd name="connsiteY7" fmla="*/ 0 h 3238682"/>
                <a:gd name="connsiteX8" fmla="*/ 177448 w 8006998"/>
                <a:gd name="connsiteY8" fmla="*/ 0 h 3238682"/>
                <a:gd name="connsiteX9" fmla="*/ 177448 w 8006998"/>
                <a:gd name="connsiteY9" fmla="*/ 0 h 3238682"/>
                <a:gd name="connsiteX0" fmla="*/ 244123 w 8006998"/>
                <a:gd name="connsiteY0" fmla="*/ 0 h 3238682"/>
                <a:gd name="connsiteX1" fmla="*/ 8006998 w 8006998"/>
                <a:gd name="connsiteY1" fmla="*/ 0 h 3238682"/>
                <a:gd name="connsiteX2" fmla="*/ 6540148 w 8006998"/>
                <a:gd name="connsiteY2" fmla="*/ 1628775 h 3238682"/>
                <a:gd name="connsiteX3" fmla="*/ 5406673 w 8006998"/>
                <a:gd name="connsiteY3" fmla="*/ 1628775 h 3238682"/>
                <a:gd name="connsiteX4" fmla="*/ 2434873 w 8006998"/>
                <a:gd name="connsiteY4" fmla="*/ 3238500 h 3238682"/>
                <a:gd name="connsiteX5" fmla="*/ 167923 w 8006998"/>
                <a:gd name="connsiteY5" fmla="*/ 2752725 h 3238682"/>
                <a:gd name="connsiteX6" fmla="*/ 167923 w 8006998"/>
                <a:gd name="connsiteY6" fmla="*/ 2743200 h 3238682"/>
                <a:gd name="connsiteX7" fmla="*/ 177448 w 8006998"/>
                <a:gd name="connsiteY7" fmla="*/ 0 h 3238682"/>
                <a:gd name="connsiteX8" fmla="*/ 177448 w 8006998"/>
                <a:gd name="connsiteY8" fmla="*/ 0 h 3238682"/>
                <a:gd name="connsiteX9" fmla="*/ 177448 w 8006998"/>
                <a:gd name="connsiteY9" fmla="*/ 0 h 3238682"/>
                <a:gd name="connsiteX0" fmla="*/ 246980 w 8009855"/>
                <a:gd name="connsiteY0" fmla="*/ 0 h 3238682"/>
                <a:gd name="connsiteX1" fmla="*/ 8009855 w 8009855"/>
                <a:gd name="connsiteY1" fmla="*/ 0 h 3238682"/>
                <a:gd name="connsiteX2" fmla="*/ 6543005 w 8009855"/>
                <a:gd name="connsiteY2" fmla="*/ 1628775 h 3238682"/>
                <a:gd name="connsiteX3" fmla="*/ 5409530 w 8009855"/>
                <a:gd name="connsiteY3" fmla="*/ 1628775 h 3238682"/>
                <a:gd name="connsiteX4" fmla="*/ 2437730 w 8009855"/>
                <a:gd name="connsiteY4" fmla="*/ 3238500 h 3238682"/>
                <a:gd name="connsiteX5" fmla="*/ 170780 w 8009855"/>
                <a:gd name="connsiteY5" fmla="*/ 2752725 h 3238682"/>
                <a:gd name="connsiteX6" fmla="*/ 170780 w 8009855"/>
                <a:gd name="connsiteY6" fmla="*/ 2743200 h 3238682"/>
                <a:gd name="connsiteX7" fmla="*/ 180305 w 8009855"/>
                <a:gd name="connsiteY7" fmla="*/ 0 h 3238682"/>
                <a:gd name="connsiteX8" fmla="*/ 180305 w 8009855"/>
                <a:gd name="connsiteY8" fmla="*/ 0 h 3238682"/>
                <a:gd name="connsiteX9" fmla="*/ 180305 w 8009855"/>
                <a:gd name="connsiteY9" fmla="*/ 0 h 3238682"/>
                <a:gd name="connsiteX0" fmla="*/ 244831 w 8007706"/>
                <a:gd name="connsiteY0" fmla="*/ 0 h 3238682"/>
                <a:gd name="connsiteX1" fmla="*/ 8007706 w 8007706"/>
                <a:gd name="connsiteY1" fmla="*/ 0 h 3238682"/>
                <a:gd name="connsiteX2" fmla="*/ 6540856 w 8007706"/>
                <a:gd name="connsiteY2" fmla="*/ 1628775 h 3238682"/>
                <a:gd name="connsiteX3" fmla="*/ 5407381 w 8007706"/>
                <a:gd name="connsiteY3" fmla="*/ 1628775 h 3238682"/>
                <a:gd name="connsiteX4" fmla="*/ 2435581 w 8007706"/>
                <a:gd name="connsiteY4" fmla="*/ 3238500 h 3238682"/>
                <a:gd name="connsiteX5" fmla="*/ 168631 w 8007706"/>
                <a:gd name="connsiteY5" fmla="*/ 2752725 h 3238682"/>
                <a:gd name="connsiteX6" fmla="*/ 168631 w 8007706"/>
                <a:gd name="connsiteY6" fmla="*/ 2743200 h 3238682"/>
                <a:gd name="connsiteX7" fmla="*/ 178156 w 8007706"/>
                <a:gd name="connsiteY7" fmla="*/ 0 h 3238682"/>
                <a:gd name="connsiteX8" fmla="*/ 178156 w 8007706"/>
                <a:gd name="connsiteY8" fmla="*/ 0 h 3238682"/>
                <a:gd name="connsiteX9" fmla="*/ 178156 w 8007706"/>
                <a:gd name="connsiteY9" fmla="*/ 0 h 3238682"/>
                <a:gd name="connsiteX0" fmla="*/ 244831 w 8007706"/>
                <a:gd name="connsiteY0" fmla="*/ 0 h 3246785"/>
                <a:gd name="connsiteX1" fmla="*/ 8007706 w 8007706"/>
                <a:gd name="connsiteY1" fmla="*/ 0 h 3246785"/>
                <a:gd name="connsiteX2" fmla="*/ 6540856 w 8007706"/>
                <a:gd name="connsiteY2" fmla="*/ 1628775 h 3246785"/>
                <a:gd name="connsiteX3" fmla="*/ 5407381 w 8007706"/>
                <a:gd name="connsiteY3" fmla="*/ 1628775 h 3246785"/>
                <a:gd name="connsiteX4" fmla="*/ 2435581 w 8007706"/>
                <a:gd name="connsiteY4" fmla="*/ 3238500 h 3246785"/>
                <a:gd name="connsiteX5" fmla="*/ 168631 w 8007706"/>
                <a:gd name="connsiteY5" fmla="*/ 2752725 h 3246785"/>
                <a:gd name="connsiteX6" fmla="*/ 168631 w 8007706"/>
                <a:gd name="connsiteY6" fmla="*/ 2743200 h 3246785"/>
                <a:gd name="connsiteX7" fmla="*/ 178156 w 8007706"/>
                <a:gd name="connsiteY7" fmla="*/ 0 h 3246785"/>
                <a:gd name="connsiteX8" fmla="*/ 178156 w 8007706"/>
                <a:gd name="connsiteY8" fmla="*/ 0 h 3246785"/>
                <a:gd name="connsiteX9" fmla="*/ 178156 w 8007706"/>
                <a:gd name="connsiteY9" fmla="*/ 0 h 3246785"/>
                <a:gd name="connsiteX0" fmla="*/ 223706 w 7986581"/>
                <a:gd name="connsiteY0" fmla="*/ 0 h 3246785"/>
                <a:gd name="connsiteX1" fmla="*/ 7986581 w 7986581"/>
                <a:gd name="connsiteY1" fmla="*/ 0 h 3246785"/>
                <a:gd name="connsiteX2" fmla="*/ 6519731 w 7986581"/>
                <a:gd name="connsiteY2" fmla="*/ 1628775 h 3246785"/>
                <a:gd name="connsiteX3" fmla="*/ 5386256 w 7986581"/>
                <a:gd name="connsiteY3" fmla="*/ 1628775 h 3246785"/>
                <a:gd name="connsiteX4" fmla="*/ 2414456 w 7986581"/>
                <a:gd name="connsiteY4" fmla="*/ 3238500 h 3246785"/>
                <a:gd name="connsiteX5" fmla="*/ 147506 w 7986581"/>
                <a:gd name="connsiteY5" fmla="*/ 2752725 h 3246785"/>
                <a:gd name="connsiteX6" fmla="*/ 147506 w 7986581"/>
                <a:gd name="connsiteY6" fmla="*/ 2743200 h 3246785"/>
                <a:gd name="connsiteX7" fmla="*/ 157031 w 7986581"/>
                <a:gd name="connsiteY7" fmla="*/ 0 h 3246785"/>
                <a:gd name="connsiteX8" fmla="*/ 157031 w 7986581"/>
                <a:gd name="connsiteY8" fmla="*/ 0 h 3246785"/>
                <a:gd name="connsiteX9" fmla="*/ 157031 w 7986581"/>
                <a:gd name="connsiteY9" fmla="*/ 0 h 3246785"/>
                <a:gd name="connsiteX0" fmla="*/ 270776 w 8033651"/>
                <a:gd name="connsiteY0" fmla="*/ 0 h 3246785"/>
                <a:gd name="connsiteX1" fmla="*/ 8033651 w 8033651"/>
                <a:gd name="connsiteY1" fmla="*/ 0 h 3246785"/>
                <a:gd name="connsiteX2" fmla="*/ 6566801 w 8033651"/>
                <a:gd name="connsiteY2" fmla="*/ 1628775 h 3246785"/>
                <a:gd name="connsiteX3" fmla="*/ 5433326 w 8033651"/>
                <a:gd name="connsiteY3" fmla="*/ 1628775 h 3246785"/>
                <a:gd name="connsiteX4" fmla="*/ 2461526 w 8033651"/>
                <a:gd name="connsiteY4" fmla="*/ 3238500 h 3246785"/>
                <a:gd name="connsiteX5" fmla="*/ 194576 w 8033651"/>
                <a:gd name="connsiteY5" fmla="*/ 2752725 h 3246785"/>
                <a:gd name="connsiteX6" fmla="*/ 194576 w 8033651"/>
                <a:gd name="connsiteY6" fmla="*/ 2743200 h 3246785"/>
                <a:gd name="connsiteX7" fmla="*/ 204101 w 8033651"/>
                <a:gd name="connsiteY7" fmla="*/ 0 h 3246785"/>
                <a:gd name="connsiteX8" fmla="*/ 204101 w 8033651"/>
                <a:gd name="connsiteY8" fmla="*/ 0 h 3246785"/>
                <a:gd name="connsiteX9" fmla="*/ 204101 w 8033651"/>
                <a:gd name="connsiteY9" fmla="*/ 0 h 3246785"/>
                <a:gd name="connsiteX0" fmla="*/ 241327 w 8004202"/>
                <a:gd name="connsiteY0" fmla="*/ 0 h 3270894"/>
                <a:gd name="connsiteX1" fmla="*/ 8004202 w 8004202"/>
                <a:gd name="connsiteY1" fmla="*/ 0 h 3270894"/>
                <a:gd name="connsiteX2" fmla="*/ 6537352 w 8004202"/>
                <a:gd name="connsiteY2" fmla="*/ 1628775 h 3270894"/>
                <a:gd name="connsiteX3" fmla="*/ 5403877 w 8004202"/>
                <a:gd name="connsiteY3" fmla="*/ 1628775 h 3270894"/>
                <a:gd name="connsiteX4" fmla="*/ 2432077 w 8004202"/>
                <a:gd name="connsiteY4" fmla="*/ 3238500 h 3270894"/>
                <a:gd name="connsiteX5" fmla="*/ 165127 w 8004202"/>
                <a:gd name="connsiteY5" fmla="*/ 2752725 h 3270894"/>
                <a:gd name="connsiteX6" fmla="*/ 174652 w 8004202"/>
                <a:gd name="connsiteY6" fmla="*/ 0 h 3270894"/>
                <a:gd name="connsiteX7" fmla="*/ 174652 w 8004202"/>
                <a:gd name="connsiteY7" fmla="*/ 0 h 3270894"/>
                <a:gd name="connsiteX8" fmla="*/ 174652 w 8004202"/>
                <a:gd name="connsiteY8" fmla="*/ 0 h 3270894"/>
                <a:gd name="connsiteX0" fmla="*/ 219188 w 7982063"/>
                <a:gd name="connsiteY0" fmla="*/ 0 h 3335056"/>
                <a:gd name="connsiteX1" fmla="*/ 7982063 w 7982063"/>
                <a:gd name="connsiteY1" fmla="*/ 0 h 3335056"/>
                <a:gd name="connsiteX2" fmla="*/ 6515213 w 7982063"/>
                <a:gd name="connsiteY2" fmla="*/ 1628775 h 3335056"/>
                <a:gd name="connsiteX3" fmla="*/ 5381738 w 7982063"/>
                <a:gd name="connsiteY3" fmla="*/ 1628775 h 3335056"/>
                <a:gd name="connsiteX4" fmla="*/ 2409938 w 7982063"/>
                <a:gd name="connsiteY4" fmla="*/ 3238500 h 3335056"/>
                <a:gd name="connsiteX5" fmla="*/ 171563 w 7982063"/>
                <a:gd name="connsiteY5" fmla="*/ 2809875 h 3335056"/>
                <a:gd name="connsiteX6" fmla="*/ 152513 w 7982063"/>
                <a:gd name="connsiteY6" fmla="*/ 0 h 3335056"/>
                <a:gd name="connsiteX7" fmla="*/ 152513 w 7982063"/>
                <a:gd name="connsiteY7" fmla="*/ 0 h 3335056"/>
                <a:gd name="connsiteX8" fmla="*/ 152513 w 7982063"/>
                <a:gd name="connsiteY8" fmla="*/ 0 h 3335056"/>
                <a:gd name="connsiteX0" fmla="*/ 313921 w 8076796"/>
                <a:gd name="connsiteY0" fmla="*/ 0 h 3281767"/>
                <a:gd name="connsiteX1" fmla="*/ 8076796 w 8076796"/>
                <a:gd name="connsiteY1" fmla="*/ 0 h 3281767"/>
                <a:gd name="connsiteX2" fmla="*/ 6609946 w 8076796"/>
                <a:gd name="connsiteY2" fmla="*/ 1628775 h 3281767"/>
                <a:gd name="connsiteX3" fmla="*/ 5476471 w 8076796"/>
                <a:gd name="connsiteY3" fmla="*/ 1628775 h 3281767"/>
                <a:gd name="connsiteX4" fmla="*/ 2504671 w 8076796"/>
                <a:gd name="connsiteY4" fmla="*/ 3238500 h 3281767"/>
                <a:gd name="connsiteX5" fmla="*/ 266296 w 8076796"/>
                <a:gd name="connsiteY5" fmla="*/ 2809875 h 3281767"/>
                <a:gd name="connsiteX6" fmla="*/ 247246 w 8076796"/>
                <a:gd name="connsiteY6" fmla="*/ 0 h 3281767"/>
                <a:gd name="connsiteX7" fmla="*/ 247246 w 8076796"/>
                <a:gd name="connsiteY7" fmla="*/ 0 h 3281767"/>
                <a:gd name="connsiteX8" fmla="*/ 247246 w 8076796"/>
                <a:gd name="connsiteY8" fmla="*/ 0 h 3281767"/>
                <a:gd name="connsiteX0" fmla="*/ 306604 w 8069479"/>
                <a:gd name="connsiteY0" fmla="*/ 0 h 3278498"/>
                <a:gd name="connsiteX1" fmla="*/ 8069479 w 8069479"/>
                <a:gd name="connsiteY1" fmla="*/ 0 h 3278498"/>
                <a:gd name="connsiteX2" fmla="*/ 6602629 w 8069479"/>
                <a:gd name="connsiteY2" fmla="*/ 1628775 h 3278498"/>
                <a:gd name="connsiteX3" fmla="*/ 5469154 w 8069479"/>
                <a:gd name="connsiteY3" fmla="*/ 1628775 h 3278498"/>
                <a:gd name="connsiteX4" fmla="*/ 2497354 w 8069479"/>
                <a:gd name="connsiteY4" fmla="*/ 3238500 h 3278498"/>
                <a:gd name="connsiteX5" fmla="*/ 268504 w 8069479"/>
                <a:gd name="connsiteY5" fmla="*/ 2781300 h 3278498"/>
                <a:gd name="connsiteX6" fmla="*/ 239929 w 8069479"/>
                <a:gd name="connsiteY6" fmla="*/ 0 h 3278498"/>
                <a:gd name="connsiteX7" fmla="*/ 239929 w 8069479"/>
                <a:gd name="connsiteY7" fmla="*/ 0 h 3278498"/>
                <a:gd name="connsiteX8" fmla="*/ 239929 w 8069479"/>
                <a:gd name="connsiteY8" fmla="*/ 0 h 3278498"/>
                <a:gd name="connsiteX0" fmla="*/ 66675 w 7829550"/>
                <a:gd name="connsiteY0" fmla="*/ 0 h 3285761"/>
                <a:gd name="connsiteX1" fmla="*/ 7829550 w 7829550"/>
                <a:gd name="connsiteY1" fmla="*/ 0 h 3285761"/>
                <a:gd name="connsiteX2" fmla="*/ 6362700 w 7829550"/>
                <a:gd name="connsiteY2" fmla="*/ 1628775 h 3285761"/>
                <a:gd name="connsiteX3" fmla="*/ 5229225 w 7829550"/>
                <a:gd name="connsiteY3" fmla="*/ 1628775 h 3285761"/>
                <a:gd name="connsiteX4" fmla="*/ 2257425 w 7829550"/>
                <a:gd name="connsiteY4" fmla="*/ 3238500 h 3285761"/>
                <a:gd name="connsiteX5" fmla="*/ 28575 w 7829550"/>
                <a:gd name="connsiteY5" fmla="*/ 2781300 h 3285761"/>
                <a:gd name="connsiteX6" fmla="*/ 0 w 7829550"/>
                <a:gd name="connsiteY6" fmla="*/ 0 h 3285761"/>
                <a:gd name="connsiteX7" fmla="*/ 0 w 7829550"/>
                <a:gd name="connsiteY7" fmla="*/ 0 h 3285761"/>
                <a:gd name="connsiteX8" fmla="*/ 0 w 7829550"/>
                <a:gd name="connsiteY8" fmla="*/ 0 h 3285761"/>
                <a:gd name="connsiteX0" fmla="*/ 91126 w 7854001"/>
                <a:gd name="connsiteY0" fmla="*/ 0 h 3274776"/>
                <a:gd name="connsiteX1" fmla="*/ 7854001 w 7854001"/>
                <a:gd name="connsiteY1" fmla="*/ 0 h 3274776"/>
                <a:gd name="connsiteX2" fmla="*/ 6387151 w 7854001"/>
                <a:gd name="connsiteY2" fmla="*/ 1628775 h 3274776"/>
                <a:gd name="connsiteX3" fmla="*/ 5253676 w 7854001"/>
                <a:gd name="connsiteY3" fmla="*/ 1628775 h 3274776"/>
                <a:gd name="connsiteX4" fmla="*/ 2281876 w 7854001"/>
                <a:gd name="connsiteY4" fmla="*/ 3238500 h 3274776"/>
                <a:gd name="connsiteX5" fmla="*/ 53026 w 7854001"/>
                <a:gd name="connsiteY5" fmla="*/ 2781300 h 3274776"/>
                <a:gd name="connsiteX6" fmla="*/ 24451 w 7854001"/>
                <a:gd name="connsiteY6" fmla="*/ 0 h 3274776"/>
                <a:gd name="connsiteX7" fmla="*/ 24451 w 7854001"/>
                <a:gd name="connsiteY7" fmla="*/ 0 h 3274776"/>
                <a:gd name="connsiteX8" fmla="*/ 24451 w 7854001"/>
                <a:gd name="connsiteY8" fmla="*/ 0 h 3274776"/>
                <a:gd name="connsiteX0" fmla="*/ 66675 w 7829550"/>
                <a:gd name="connsiteY0" fmla="*/ 0 h 3274790"/>
                <a:gd name="connsiteX1" fmla="*/ 7829550 w 7829550"/>
                <a:gd name="connsiteY1" fmla="*/ 0 h 3274790"/>
                <a:gd name="connsiteX2" fmla="*/ 6362700 w 7829550"/>
                <a:gd name="connsiteY2" fmla="*/ 1628775 h 3274790"/>
                <a:gd name="connsiteX3" fmla="*/ 5229225 w 7829550"/>
                <a:gd name="connsiteY3" fmla="*/ 1628775 h 3274790"/>
                <a:gd name="connsiteX4" fmla="*/ 2257425 w 7829550"/>
                <a:gd name="connsiteY4" fmla="*/ 3238500 h 3274790"/>
                <a:gd name="connsiteX5" fmla="*/ 28575 w 7829550"/>
                <a:gd name="connsiteY5" fmla="*/ 2781300 h 3274790"/>
                <a:gd name="connsiteX6" fmla="*/ 0 w 7829550"/>
                <a:gd name="connsiteY6" fmla="*/ 0 h 3274790"/>
                <a:gd name="connsiteX7" fmla="*/ 0 w 7829550"/>
                <a:gd name="connsiteY7" fmla="*/ 0 h 3274790"/>
                <a:gd name="connsiteX8" fmla="*/ 0 w 7829550"/>
                <a:gd name="connsiteY8" fmla="*/ 0 h 3274790"/>
                <a:gd name="connsiteX0" fmla="*/ 66675 w 7829550"/>
                <a:gd name="connsiteY0" fmla="*/ 0 h 3251496"/>
                <a:gd name="connsiteX1" fmla="*/ 7829550 w 7829550"/>
                <a:gd name="connsiteY1" fmla="*/ 0 h 3251496"/>
                <a:gd name="connsiteX2" fmla="*/ 6362700 w 7829550"/>
                <a:gd name="connsiteY2" fmla="*/ 1628775 h 3251496"/>
                <a:gd name="connsiteX3" fmla="*/ 5229225 w 7829550"/>
                <a:gd name="connsiteY3" fmla="*/ 1628775 h 3251496"/>
                <a:gd name="connsiteX4" fmla="*/ 2257425 w 7829550"/>
                <a:gd name="connsiteY4" fmla="*/ 3238500 h 3251496"/>
                <a:gd name="connsiteX5" fmla="*/ 28575 w 7829550"/>
                <a:gd name="connsiteY5" fmla="*/ 2781300 h 3251496"/>
                <a:gd name="connsiteX6" fmla="*/ 0 w 7829550"/>
                <a:gd name="connsiteY6" fmla="*/ 0 h 3251496"/>
                <a:gd name="connsiteX7" fmla="*/ 0 w 7829550"/>
                <a:gd name="connsiteY7" fmla="*/ 0 h 3251496"/>
                <a:gd name="connsiteX8" fmla="*/ 0 w 7829550"/>
                <a:gd name="connsiteY8" fmla="*/ 0 h 3251496"/>
                <a:gd name="connsiteX0" fmla="*/ 66675 w 7829550"/>
                <a:gd name="connsiteY0" fmla="*/ 0 h 3255839"/>
                <a:gd name="connsiteX1" fmla="*/ 7829550 w 7829550"/>
                <a:gd name="connsiteY1" fmla="*/ 0 h 3255839"/>
                <a:gd name="connsiteX2" fmla="*/ 6362700 w 7829550"/>
                <a:gd name="connsiteY2" fmla="*/ 1628775 h 3255839"/>
                <a:gd name="connsiteX3" fmla="*/ 5229225 w 7829550"/>
                <a:gd name="connsiteY3" fmla="*/ 1628775 h 3255839"/>
                <a:gd name="connsiteX4" fmla="*/ 2257425 w 7829550"/>
                <a:gd name="connsiteY4" fmla="*/ 3238500 h 3255839"/>
                <a:gd name="connsiteX5" fmla="*/ 28575 w 7829550"/>
                <a:gd name="connsiteY5" fmla="*/ 2781300 h 3255839"/>
                <a:gd name="connsiteX6" fmla="*/ 0 w 7829550"/>
                <a:gd name="connsiteY6" fmla="*/ 0 h 3255839"/>
                <a:gd name="connsiteX7" fmla="*/ 0 w 7829550"/>
                <a:gd name="connsiteY7" fmla="*/ 0 h 3255839"/>
                <a:gd name="connsiteX8" fmla="*/ 0 w 7829550"/>
                <a:gd name="connsiteY8" fmla="*/ 0 h 3255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29550" h="3255839">
                  <a:moveTo>
                    <a:pt x="66675" y="0"/>
                  </a:moveTo>
                  <a:lnTo>
                    <a:pt x="7829550" y="0"/>
                  </a:lnTo>
                  <a:lnTo>
                    <a:pt x="6362700" y="1628775"/>
                  </a:lnTo>
                  <a:lnTo>
                    <a:pt x="5229225" y="1628775"/>
                  </a:lnTo>
                  <a:cubicBezTo>
                    <a:pt x="4495800" y="2587625"/>
                    <a:pt x="3821895" y="3077510"/>
                    <a:pt x="2257425" y="3238500"/>
                  </a:cubicBezTo>
                  <a:cubicBezTo>
                    <a:pt x="1070822" y="3360606"/>
                    <a:pt x="28759" y="2798382"/>
                    <a:pt x="28575" y="2781300"/>
                  </a:cubicBezTo>
                  <a:cubicBezTo>
                    <a:pt x="11662" y="1212808"/>
                    <a:pt x="4763" y="463550"/>
                    <a:pt x="0" y="0"/>
                  </a:cubicBez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solidFill>
              <a:srgbClr val="0019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6436" name="TextBox 2"/>
            <p:cNvSpPr txBox="1">
              <a:spLocks noChangeArrowheads="1"/>
            </p:cNvSpPr>
            <p:nvPr/>
          </p:nvSpPr>
          <p:spPr bwMode="auto">
            <a:xfrm>
              <a:off x="454025" y="4048109"/>
              <a:ext cx="3182938" cy="24018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n-US" altLang="en-US" sz="4100" dirty="0">
                  <a:solidFill>
                    <a:srgbClr val="FFFFFF"/>
                  </a:solidFill>
                </a:rPr>
                <a:t>experience</a:t>
              </a:r>
            </a:p>
            <a:p>
              <a:r>
                <a:rPr lang="en-US" altLang="en-US" sz="4100" dirty="0">
                  <a:solidFill>
                    <a:srgbClr val="0C9EFF"/>
                  </a:solidFill>
                </a:rPr>
                <a:t>is everything</a:t>
              </a:r>
            </a:p>
            <a:p>
              <a:pPr>
                <a:lnSpc>
                  <a:spcPct val="150000"/>
                </a:lnSpc>
                <a:spcBef>
                  <a:spcPts val="1200"/>
                </a:spcBef>
              </a:pPr>
              <a:r>
                <a:rPr lang="en-US" altLang="en-US" sz="4100" dirty="0" smtClean="0">
                  <a:solidFill>
                    <a:srgbClr val="0C9EFF"/>
                  </a:solidFill>
                </a:rPr>
                <a:t>Thank you!</a:t>
              </a:r>
              <a:endParaRPr lang="en-US" altLang="en-US" sz="4100" dirty="0">
                <a:solidFill>
                  <a:srgbClr val="0C9E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853879385"/>
      </p:ext>
    </p:extLst>
  </p:cSld>
  <p:clrMapOvr>
    <a:masterClrMapping/>
  </p:clrMapOvr>
  <p:transition advClick="0">
    <p:fade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21" name="Picture 3" descr="H:\transfer\capa-baixa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" r="-140"/>
          <a:stretch>
            <a:fillRect/>
          </a:stretch>
        </p:blipFill>
        <p:spPr bwMode="auto">
          <a:xfrm>
            <a:off x="0" y="0"/>
            <a:ext cx="14630400" cy="822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1" y="1"/>
            <a:ext cx="8932862" cy="1451610"/>
          </a:xfrm>
          <a:prstGeom prst="rect">
            <a:avLst/>
          </a:prstGeom>
          <a:gradFill flip="none" rotWithShape="1">
            <a:gsLst>
              <a:gs pos="32000">
                <a:schemeClr val="tx1">
                  <a:lumMod val="90000"/>
                  <a:lumOff val="10000"/>
                  <a:alpha val="83000"/>
                </a:schemeClr>
              </a:gs>
              <a:gs pos="89000">
                <a:schemeClr val="tx1">
                  <a:lumMod val="90000"/>
                  <a:lumOff val="10000"/>
                  <a:alpha val="0"/>
                </a:schemeClr>
              </a:gs>
              <a:gs pos="65000">
                <a:schemeClr val="tx1">
                  <a:lumMod val="90000"/>
                  <a:lumOff val="10000"/>
                  <a:alpha val="7600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15" tIns="65308" rIns="130615" bIns="65308" anchor="ctr"/>
          <a:lstStyle/>
          <a:p>
            <a:pPr algn="ctr" defTabSz="65307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900">
              <a:solidFill>
                <a:prstClr val="white"/>
              </a:solidFill>
              <a:latin typeface="Raleway" panose="020B0003030101060003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4595813"/>
            <a:ext cx="11626272" cy="3633787"/>
          </a:xfrm>
          <a:prstGeom prst="rect">
            <a:avLst/>
          </a:prstGeom>
          <a:gradFill flip="none" rotWithShape="1">
            <a:gsLst>
              <a:gs pos="32000">
                <a:schemeClr val="tx1">
                  <a:lumMod val="90000"/>
                  <a:lumOff val="10000"/>
                  <a:alpha val="83000"/>
                </a:schemeClr>
              </a:gs>
              <a:gs pos="89000">
                <a:schemeClr val="tx1">
                  <a:lumMod val="90000"/>
                  <a:lumOff val="10000"/>
                  <a:alpha val="0"/>
                </a:schemeClr>
              </a:gs>
              <a:gs pos="65000">
                <a:schemeClr val="tx1">
                  <a:lumMod val="90000"/>
                  <a:lumOff val="10000"/>
                  <a:alpha val="76000"/>
                </a:schemeClr>
              </a:gs>
            </a:gsLst>
            <a:lin ang="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0615" tIns="65308" rIns="130615" bIns="65308" anchor="ctr"/>
          <a:lstStyle/>
          <a:p>
            <a:pPr algn="ctr" defTabSz="653077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 sz="1900">
              <a:solidFill>
                <a:prstClr val="white"/>
              </a:solidFill>
              <a:latin typeface="Raleway" panose="020B0003030101060003" pitchFamily="34" charset="0"/>
            </a:endParaRPr>
          </a:p>
        </p:txBody>
      </p:sp>
      <p:sp>
        <p:nvSpPr>
          <p:cNvPr id="133128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665024" y="4473575"/>
            <a:ext cx="7970838" cy="1322388"/>
          </a:xfrm>
          <a:prstGeom prst="rect">
            <a:avLst/>
          </a:prstGeom>
        </p:spPr>
        <p:txBody>
          <a:bodyPr/>
          <a:lstStyle/>
          <a:p>
            <a:pPr marL="0" indent="0" eaLnBrk="1" hangingPunct="1">
              <a:lnSpc>
                <a:spcPct val="100000"/>
              </a:lnSpc>
            </a:pPr>
            <a:r>
              <a:rPr lang="en-US" altLang="en-US" sz="5400" b="1" dirty="0" smtClean="0">
                <a:solidFill>
                  <a:srgbClr val="FFC000"/>
                </a:solidFill>
                <a:latin typeface="Lubalin Demi for IBM" pitchFamily="1" charset="0"/>
                <a:ea typeface="ＭＳ Ｐゴシック" pitchFamily="34" charset="-128"/>
              </a:rPr>
              <a:t>Experience in </a:t>
            </a:r>
            <a:r>
              <a:rPr lang="en-US" altLang="en-US" sz="7100" b="1" i="1" dirty="0" smtClean="0">
                <a:latin typeface="Lubalin Demi for IBM" pitchFamily="1" charset="0"/>
                <a:ea typeface="ＭＳ Ｐゴシック" pitchFamily="34" charset="-128"/>
              </a:rPr>
              <a:t>Motion</a:t>
            </a:r>
          </a:p>
        </p:txBody>
      </p:sp>
      <p:pic>
        <p:nvPicPr>
          <p:cNvPr id="133132" name="Picture 8" descr="IBM logo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6600" y="540327"/>
            <a:ext cx="946727" cy="362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9" name="Group 18"/>
          <p:cNvGrpSpPr>
            <a:grpSpLocks/>
          </p:cNvGrpSpPr>
          <p:nvPr/>
        </p:nvGrpSpPr>
        <p:grpSpPr bwMode="auto">
          <a:xfrm>
            <a:off x="-48262344" y="4792981"/>
            <a:ext cx="47076954" cy="1601393"/>
            <a:chOff x="-17270653" y="-186991"/>
            <a:chExt cx="32642138" cy="1335200"/>
          </a:xfrm>
        </p:grpSpPr>
        <p:sp>
          <p:nvSpPr>
            <p:cNvPr id="20" name="TextBox 14"/>
            <p:cNvSpPr txBox="1">
              <a:spLocks noChangeArrowheads="1"/>
            </p:cNvSpPr>
            <p:nvPr/>
          </p:nvSpPr>
          <p:spPr bwMode="auto">
            <a:xfrm>
              <a:off x="-6330713" y="-160532"/>
              <a:ext cx="21702198" cy="13087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cs typeface="ＭＳ Ｐゴシック" charset="0"/>
                  <a:sym typeface="Helvetica Neue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9pPr>
            </a:lstStyle>
            <a:p>
              <a:pPr eaLnBrk="1" hangingPunct="1"/>
              <a:r>
                <a:rPr lang="en-US" sz="9600" dirty="0">
                  <a:solidFill>
                    <a:srgbClr val="FFFF4F"/>
                  </a:solidFill>
                  <a:latin typeface="Calibri" charset="0"/>
                  <a:cs typeface="Arial" charset="0"/>
                </a:rPr>
                <a:t>Security </a:t>
              </a:r>
              <a:r>
                <a:rPr lang="en-US" sz="9600" dirty="0" smtClean="0">
                  <a:solidFill>
                    <a:srgbClr val="FFFF4F"/>
                  </a:solidFill>
                  <a:latin typeface="Calibri" charset="0"/>
                  <a:cs typeface="Arial" charset="0"/>
                </a:rPr>
                <a:t>Intelligence</a:t>
              </a:r>
              <a:r>
                <a:rPr lang="en-US" sz="8000" dirty="0" smtClean="0">
                  <a:solidFill>
                    <a:srgbClr val="FFFF4F"/>
                  </a:solidFill>
                  <a:latin typeface="Calibri" charset="0"/>
                  <a:cs typeface="Arial" charset="0"/>
                </a:rPr>
                <a:t>             </a:t>
              </a:r>
              <a:r>
                <a:rPr lang="en-US" sz="9600" dirty="0">
                  <a:solidFill>
                    <a:srgbClr val="7030A0"/>
                  </a:solidFill>
                  <a:latin typeface="Calibri" charset="0"/>
                  <a:cs typeface="Arial" charset="0"/>
                </a:rPr>
                <a:t>Security Intelligence</a:t>
              </a:r>
              <a:endParaRPr lang="en-US" sz="8000" b="1" i="1" dirty="0">
                <a:solidFill>
                  <a:srgbClr val="7030A0"/>
                </a:solidFill>
                <a:latin typeface="Calibri" charset="0"/>
                <a:cs typeface="Arial" charset="0"/>
              </a:endParaRPr>
            </a:p>
          </p:txBody>
        </p:sp>
        <p:sp>
          <p:nvSpPr>
            <p:cNvPr id="21" name="TextBox 15"/>
            <p:cNvSpPr txBox="1">
              <a:spLocks noChangeArrowheads="1"/>
            </p:cNvSpPr>
            <p:nvPr/>
          </p:nvSpPr>
          <p:spPr bwMode="auto">
            <a:xfrm>
              <a:off x="-17270653" y="-186991"/>
              <a:ext cx="10919846" cy="13087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cs typeface="ＭＳ Ｐゴシック" charset="0"/>
                  <a:sym typeface="Helvetica Neue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9pPr>
            </a:lstStyle>
            <a:p>
              <a:pPr eaLnBrk="1" hangingPunct="1"/>
              <a:r>
                <a:rPr lang="en-US" sz="9600" dirty="0">
                  <a:solidFill>
                    <a:srgbClr val="92D050"/>
                  </a:solidFill>
                  <a:latin typeface="Calibri" charset="0"/>
                  <a:cs typeface="Arial" charset="0"/>
                </a:rPr>
                <a:t>Security Intelligence</a:t>
              </a:r>
              <a:endParaRPr lang="en-US" sz="8000" i="1" dirty="0">
                <a:solidFill>
                  <a:srgbClr val="92D050"/>
                </a:solidFill>
                <a:latin typeface="Calibri" charset="0"/>
                <a:cs typeface="Arial" charset="0"/>
              </a:endParaRPr>
            </a:p>
          </p:txBody>
        </p:sp>
      </p:grpSp>
      <p:grpSp>
        <p:nvGrpSpPr>
          <p:cNvPr id="22" name="Group 21"/>
          <p:cNvGrpSpPr>
            <a:grpSpLocks/>
          </p:cNvGrpSpPr>
          <p:nvPr/>
        </p:nvGrpSpPr>
        <p:grpSpPr bwMode="auto">
          <a:xfrm>
            <a:off x="19476718" y="5890261"/>
            <a:ext cx="69455793" cy="2631490"/>
            <a:chOff x="-27942942" y="-541537"/>
            <a:chExt cx="43410768" cy="2192372"/>
          </a:xfrm>
        </p:grpSpPr>
        <p:sp>
          <p:nvSpPr>
            <p:cNvPr id="23" name="TextBox 47"/>
            <p:cNvSpPr txBox="1">
              <a:spLocks noChangeArrowheads="1"/>
            </p:cNvSpPr>
            <p:nvPr/>
          </p:nvSpPr>
          <p:spPr bwMode="auto">
            <a:xfrm>
              <a:off x="-2331039" y="-541537"/>
              <a:ext cx="17798865" cy="21923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cs typeface="ＭＳ Ｐゴシック" charset="0"/>
                  <a:sym typeface="Helvetica Neue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9pPr>
            </a:lstStyle>
            <a:p>
              <a:pPr eaLnBrk="1" hangingPunct="1"/>
              <a:r>
                <a:rPr lang="en-US" sz="16500" dirty="0">
                  <a:solidFill>
                    <a:srgbClr val="00B0F0"/>
                  </a:solidFill>
                  <a:latin typeface="Calibri" charset="0"/>
                  <a:cs typeface="Arial" charset="0"/>
                </a:rPr>
                <a:t>                    </a:t>
              </a:r>
              <a:r>
                <a:rPr lang="en-US" sz="11500" dirty="0">
                  <a:solidFill>
                    <a:srgbClr val="00B0F0"/>
                  </a:solidFill>
                  <a:latin typeface="Calibri" charset="0"/>
                  <a:cs typeface="Arial" charset="0"/>
                </a:rPr>
                <a:t>Security Intelligence</a:t>
              </a:r>
              <a:endParaRPr lang="en-US" sz="8800" i="1" dirty="0">
                <a:solidFill>
                  <a:srgbClr val="00B0F0"/>
                </a:solidFill>
                <a:latin typeface="Calibri" charset="0"/>
                <a:cs typeface="Arial" charset="0"/>
              </a:endParaRPr>
            </a:p>
          </p:txBody>
        </p:sp>
        <p:sp>
          <p:nvSpPr>
            <p:cNvPr id="24" name="TextBox 19"/>
            <p:cNvSpPr txBox="1">
              <a:spLocks noChangeArrowheads="1"/>
            </p:cNvSpPr>
            <p:nvPr/>
          </p:nvSpPr>
          <p:spPr bwMode="auto">
            <a:xfrm>
              <a:off x="-15687122" y="-415886"/>
              <a:ext cx="17448587" cy="15513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cs typeface="ＭＳ Ｐゴシック" charset="0"/>
                  <a:sym typeface="Helvetica Neue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9pPr>
            </a:lstStyle>
            <a:p>
              <a:pPr eaLnBrk="1" hangingPunct="1"/>
              <a:r>
                <a:rPr lang="en-US" sz="11500" dirty="0">
                  <a:solidFill>
                    <a:srgbClr val="00152C"/>
                  </a:solidFill>
                  <a:latin typeface="Calibri" charset="0"/>
                  <a:cs typeface="Arial" charset="0"/>
                </a:rPr>
                <a:t>                      </a:t>
              </a:r>
              <a:r>
                <a:rPr lang="en-US" sz="11500" dirty="0">
                  <a:solidFill>
                    <a:srgbClr val="EE3E96"/>
                  </a:solidFill>
                  <a:latin typeface="Calibri" charset="0"/>
                  <a:cs typeface="Arial" charset="0"/>
                </a:rPr>
                <a:t>Security Intelligence</a:t>
              </a:r>
              <a:endParaRPr lang="en-US" sz="8000" i="1" dirty="0">
                <a:solidFill>
                  <a:srgbClr val="EE3E96"/>
                </a:solidFill>
                <a:latin typeface="Calibri" charset="0"/>
                <a:cs typeface="Arial" charset="0"/>
              </a:endParaRPr>
            </a:p>
          </p:txBody>
        </p:sp>
        <p:sp>
          <p:nvSpPr>
            <p:cNvPr id="25" name="TextBox 20"/>
            <p:cNvSpPr txBox="1">
              <a:spLocks noChangeArrowheads="1"/>
            </p:cNvSpPr>
            <p:nvPr/>
          </p:nvSpPr>
          <p:spPr bwMode="auto">
            <a:xfrm>
              <a:off x="-27942942" y="-197649"/>
              <a:ext cx="18344179" cy="18081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cs typeface="ＭＳ Ｐゴシック" charset="0"/>
                  <a:sym typeface="Helvetica Neue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Neue" charset="0"/>
                  <a:ea typeface="ＭＳ Ｐゴシック" charset="0"/>
                  <a:sym typeface="Helvetica Neue" charset="0"/>
                </a:defRPr>
              </a:lvl9pPr>
            </a:lstStyle>
            <a:p>
              <a:pPr eaLnBrk="1" hangingPunct="1">
                <a:lnSpc>
                  <a:spcPts val="17141"/>
                </a:lnSpc>
              </a:pPr>
              <a:r>
                <a:rPr lang="en-US" sz="9600" b="1" dirty="0">
                  <a:solidFill>
                    <a:srgbClr val="00B0F0"/>
                  </a:solidFill>
                  <a:latin typeface="Calibri" charset="0"/>
                  <a:cs typeface="Arial" charset="0"/>
                </a:rPr>
                <a:t>Security Intelligence</a:t>
              </a:r>
              <a:r>
                <a:rPr lang="en-US" sz="8800" i="1" dirty="0" smtClean="0">
                  <a:solidFill>
                    <a:srgbClr val="00B0F0"/>
                  </a:solidFill>
                  <a:latin typeface="Calibri" charset="0"/>
                  <a:cs typeface="Arial" charset="0"/>
                </a:rPr>
                <a:t>          </a:t>
              </a:r>
              <a:r>
                <a:rPr lang="en-US" sz="9600" b="1" dirty="0">
                  <a:solidFill>
                    <a:srgbClr val="17AF4B"/>
                  </a:solidFill>
                  <a:latin typeface="Calibri" charset="0"/>
                  <a:cs typeface="Arial" charset="0"/>
                </a:rPr>
                <a:t>Security Intelligence</a:t>
              </a:r>
              <a:endParaRPr lang="en-US" sz="8800" i="1" dirty="0">
                <a:solidFill>
                  <a:srgbClr val="00B0F0"/>
                </a:solidFill>
                <a:latin typeface="Calibri" charset="0"/>
                <a:cs typeface="Arial" charset="0"/>
              </a:endParaRPr>
            </a:p>
          </p:txBody>
        </p:sp>
      </p:grpSp>
      <p:sp>
        <p:nvSpPr>
          <p:cNvPr id="18" name="Text Placeholder 16"/>
          <p:cNvSpPr txBox="1">
            <a:spLocks/>
          </p:cNvSpPr>
          <p:nvPr/>
        </p:nvSpPr>
        <p:spPr bwMode="auto">
          <a:xfrm>
            <a:off x="10024895" y="-63500"/>
            <a:ext cx="4733925" cy="788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0602" tIns="65302" rIns="130602" bIns="65302"/>
          <a:lstStyle>
            <a:lvl1pPr marL="152400" defTabSz="1304925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304925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304925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304925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304925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304925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304925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304925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304925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lnSpc>
                <a:spcPts val="6000"/>
              </a:lnSpc>
            </a:pPr>
            <a:r>
              <a:rPr lang="en-US" altLang="en-US" sz="3100" b="1" dirty="0">
                <a:solidFill>
                  <a:srgbClr val="0050A6"/>
                </a:solidFill>
                <a:latin typeface="Lubalin Demi for IBM" pitchFamily="1" charset="0"/>
              </a:rPr>
              <a:t>Felipe </a:t>
            </a:r>
            <a:r>
              <a:rPr lang="en-US" altLang="en-US" sz="3100" b="1" dirty="0" err="1">
                <a:solidFill>
                  <a:srgbClr val="0050A6"/>
                </a:solidFill>
                <a:latin typeface="Lubalin Demi for IBM" pitchFamily="1" charset="0"/>
              </a:rPr>
              <a:t>Peñaranda</a:t>
            </a:r>
            <a:endParaRPr lang="pt-BR" altLang="en-US" sz="1900" b="1" dirty="0">
              <a:solidFill>
                <a:srgbClr val="0050A6"/>
              </a:solidFill>
              <a:latin typeface="Lubalin Demi for IBM" pitchFamily="1" charset="0"/>
            </a:endParaRPr>
          </a:p>
        </p:txBody>
      </p:sp>
      <p:sp>
        <p:nvSpPr>
          <p:cNvPr id="26" name="Text Placeholder 16"/>
          <p:cNvSpPr txBox="1">
            <a:spLocks/>
          </p:cNvSpPr>
          <p:nvPr/>
        </p:nvSpPr>
        <p:spPr bwMode="auto">
          <a:xfrm>
            <a:off x="10045385" y="690563"/>
            <a:ext cx="4692650" cy="71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0602" tIns="65302" rIns="130602" bIns="65302"/>
          <a:lstStyle>
            <a:lvl1pPr marL="152400" defTabSz="1304925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304925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304925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304925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304925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304925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304925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304925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304925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r>
              <a:rPr lang="pt-BR" altLang="en-US" sz="1900" b="1" dirty="0">
                <a:solidFill>
                  <a:srgbClr val="001934"/>
                </a:solidFill>
                <a:latin typeface="Lubalin Demi for IBM" pitchFamily="1" charset="0"/>
                <a:cs typeface="Arial" pitchFamily="34" charset="0"/>
              </a:rPr>
              <a:t>LA Security Tiger Team </a:t>
            </a:r>
            <a:r>
              <a:rPr lang="pt-BR" altLang="en-US" sz="1900" b="1" dirty="0" err="1">
                <a:solidFill>
                  <a:srgbClr val="001934"/>
                </a:solidFill>
                <a:latin typeface="Lubalin Demi for IBM" pitchFamily="1" charset="0"/>
                <a:cs typeface="Arial" pitchFamily="34" charset="0"/>
              </a:rPr>
              <a:t>Leader</a:t>
            </a:r>
            <a:endParaRPr lang="pt-BR" altLang="en-US" sz="1900" b="1" dirty="0">
              <a:solidFill>
                <a:srgbClr val="001934"/>
              </a:solidFill>
              <a:latin typeface="Lubalin Demi for IBM" pitchFamily="1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8688770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1.48802 0.02245 L 6.49827 0.02245 " pathEditMode="relative" rAng="0" ptsTypes="AA">
                                      <p:cBhvr>
                                        <p:cTn id="6" dur="2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50503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35" presetClass="path" presetSubtype="0" repeatCount="indefinite" accel="50000" decel="50000" autoRev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33789 -0.00405 L -5.70779 -0.00405 " pathEditMode="relative" rAng="0" ptsTypes="AA">
                                      <p:cBhvr>
                                        <p:cTn id="8" dur="2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1849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2" name="Group 15"/>
          <p:cNvGrpSpPr>
            <a:grpSpLocks/>
          </p:cNvGrpSpPr>
          <p:nvPr/>
        </p:nvGrpSpPr>
        <p:grpSpPr bwMode="auto">
          <a:xfrm>
            <a:off x="-16933" y="4762500"/>
            <a:ext cx="14630400" cy="3467100"/>
            <a:chOff x="-16933" y="4762500"/>
            <a:chExt cx="14630399" cy="3467101"/>
          </a:xfrm>
        </p:grpSpPr>
        <p:sp>
          <p:nvSpPr>
            <p:cNvPr id="66" name="Text Box 40"/>
            <p:cNvSpPr txBox="1">
              <a:spLocks noChangeArrowheads="1"/>
            </p:cNvSpPr>
            <p:nvPr/>
          </p:nvSpPr>
          <p:spPr bwMode="auto">
            <a:xfrm>
              <a:off x="13760450" y="7864475"/>
              <a:ext cx="654050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fld id="{D9445864-82E0-4CD0-8997-DA2E783B9D3F}" type="slidenum">
                <a:rPr lang="en-US" altLang="en-US" sz="1100">
                  <a:solidFill>
                    <a:srgbClr val="FFFFFF"/>
                  </a:solidFill>
                </a:rPr>
                <a:pPr eaLnBrk="1" hangingPunct="1">
                  <a:spcBef>
                    <a:spcPct val="50000"/>
                  </a:spcBef>
                </a:pPr>
                <a:t>33</a:t>
              </a:fld>
              <a:endParaRPr lang="en-US" altLang="en-US" sz="1100">
                <a:solidFill>
                  <a:srgbClr val="FFFFFF"/>
                </a:solidFill>
              </a:endParaRPr>
            </a:p>
          </p:txBody>
        </p:sp>
        <p:pic>
          <p:nvPicPr>
            <p:cNvPr id="67" name="Picture 16" descr="fundo.png"/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6933" y="4762500"/>
              <a:ext cx="14630399" cy="34671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573" y="272874"/>
            <a:ext cx="14024790" cy="1334304"/>
          </a:xfrm>
        </p:spPr>
        <p:txBody>
          <a:bodyPr/>
          <a:lstStyle/>
          <a:p>
            <a:r>
              <a:rPr lang="en-US" sz="3600" dirty="0" smtClean="0"/>
              <a:t>Clients are facing new security challenges, with advanced threats emerging continually, putting their business and brand at risk</a:t>
            </a:r>
            <a:endParaRPr lang="en-US" sz="3600" dirty="0"/>
          </a:p>
        </p:txBody>
      </p:sp>
      <p:sp>
        <p:nvSpPr>
          <p:cNvPr id="7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77520" y="2011681"/>
            <a:ext cx="2194560" cy="2989811"/>
          </a:xfrm>
          <a:prstGeom prst="rect">
            <a:avLst/>
          </a:prstGeom>
          <a:solidFill>
            <a:srgbClr val="FFFFFF"/>
          </a:solidFill>
          <a:ln w="9525">
            <a:solidFill>
              <a:schemeClr val="tx2">
                <a:lumMod val="75000"/>
              </a:schemeClr>
            </a:solidFill>
            <a:round/>
            <a:headEnd/>
            <a:tailEnd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lIns="130622" tIns="65311" rIns="130622" bIns="65311"/>
          <a:lstStyle/>
          <a:p>
            <a:pPr>
              <a:lnSpc>
                <a:spcPct val="100000"/>
              </a:lnSpc>
            </a:pPr>
            <a:endParaRPr lang="en-CA" sz="2300">
              <a:ea typeface="MS PGothic" pitchFamily="34" charset="-128"/>
            </a:endParaRPr>
          </a:p>
        </p:txBody>
      </p:sp>
      <p:sp>
        <p:nvSpPr>
          <p:cNvPr id="8" name="Pentagon 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1064260" y="1435100"/>
            <a:ext cx="1021080" cy="2174240"/>
          </a:xfrm>
          <a:prstGeom prst="homePlate">
            <a:avLst>
              <a:gd name="adj" fmla="val 35394"/>
            </a:avLst>
          </a:prstGeom>
          <a:solidFill>
            <a:schemeClr val="tx2">
              <a:lumMod val="75000"/>
            </a:schemeClr>
          </a:solidFill>
          <a:ln w="9525">
            <a:solidFill>
              <a:srgbClr val="0086B3"/>
            </a:solidFill>
            <a:miter lim="800000"/>
            <a:headEnd/>
            <a:tailEnd/>
          </a:ln>
        </p:spPr>
        <p:txBody>
          <a:bodyPr rot="10800000" vert="eaVert" lIns="130622" tIns="65311" rIns="130622" bIns="65311"/>
          <a:lstStyle/>
          <a:p>
            <a:pPr>
              <a:lnSpc>
                <a:spcPct val="100000"/>
              </a:lnSpc>
            </a:pPr>
            <a:endParaRPr lang="en-CA" sz="2300">
              <a:ea typeface="MS PGothic" pitchFamily="34" charset="-128"/>
            </a:endParaRPr>
          </a:p>
        </p:txBody>
      </p:sp>
      <p:sp>
        <p:nvSpPr>
          <p:cNvPr id="9" name="TextBox 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47040" y="2042160"/>
            <a:ext cx="2255520" cy="747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0622" tIns="65311" rIns="130622" bIns="65311">
            <a:spAutoFit/>
          </a:bodyPr>
          <a:lstStyle>
            <a:lvl1pPr marL="3175" eaLnBrk="0" hangingPunct="0"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175" eaLnBrk="0" hangingPunct="0"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buClr>
                <a:schemeClr val="tx1"/>
              </a:buClr>
            </a:pPr>
            <a:r>
              <a:rPr lang="en-US" sz="2000" b="1" dirty="0">
                <a:solidFill>
                  <a:srgbClr val="FFFFFF"/>
                </a:solidFill>
                <a:ea typeface="MS PGothic" pitchFamily="34" charset="-128"/>
              </a:rPr>
              <a:t>Business results</a:t>
            </a:r>
          </a:p>
        </p:txBody>
      </p:sp>
      <p:sp>
        <p:nvSpPr>
          <p:cNvPr id="11" name="Rectangle 4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095240" y="2011681"/>
            <a:ext cx="2194560" cy="2989811"/>
          </a:xfrm>
          <a:prstGeom prst="rect">
            <a:avLst/>
          </a:prstGeom>
          <a:solidFill>
            <a:srgbClr val="FFFFFF"/>
          </a:solidFill>
          <a:ln w="9525">
            <a:solidFill>
              <a:schemeClr val="bg2">
                <a:lumMod val="50000"/>
              </a:schemeClr>
            </a:solidFill>
            <a:round/>
            <a:headEnd/>
            <a:tailEnd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lIns="130622" tIns="65311" rIns="130622" bIns="65311"/>
          <a:lstStyle/>
          <a:p>
            <a:pPr>
              <a:lnSpc>
                <a:spcPct val="100000"/>
              </a:lnSpc>
            </a:pPr>
            <a:endParaRPr lang="en-CA" sz="2300">
              <a:ea typeface="MS PGothic" pitchFamily="34" charset="-128"/>
            </a:endParaRPr>
          </a:p>
        </p:txBody>
      </p:sp>
      <p:sp>
        <p:nvSpPr>
          <p:cNvPr id="12" name="Pentagon 4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5681980" y="1435100"/>
            <a:ext cx="1021080" cy="2174240"/>
          </a:xfrm>
          <a:prstGeom prst="homePlate">
            <a:avLst>
              <a:gd name="adj" fmla="val 35394"/>
            </a:avLst>
          </a:prstGeom>
          <a:solidFill>
            <a:schemeClr val="bg2">
              <a:lumMod val="50000"/>
            </a:schemeClr>
          </a:solidFill>
          <a:ln w="9525">
            <a:solidFill>
              <a:srgbClr val="66CCFF"/>
            </a:solidFill>
            <a:miter lim="800000"/>
            <a:headEnd/>
            <a:tailEnd/>
          </a:ln>
        </p:spPr>
        <p:txBody>
          <a:bodyPr rot="10800000" vert="eaVert" lIns="130622" tIns="65311" rIns="130622" bIns="65311"/>
          <a:lstStyle/>
          <a:p>
            <a:pPr>
              <a:lnSpc>
                <a:spcPct val="100000"/>
              </a:lnSpc>
            </a:pPr>
            <a:endParaRPr lang="en-CA" sz="2300">
              <a:ea typeface="MS PGothic" pitchFamily="34" charset="-128"/>
            </a:endParaRPr>
          </a:p>
        </p:txBody>
      </p:sp>
      <p:sp>
        <p:nvSpPr>
          <p:cNvPr id="13" name="TextBox 1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064760" y="2042161"/>
            <a:ext cx="2255520" cy="4396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0622" tIns="65311" rIns="130622" bIns="65311">
            <a:spAutoFit/>
          </a:bodyPr>
          <a:lstStyle>
            <a:lvl1pPr marL="3175" eaLnBrk="0" hangingPunct="0"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eaLnBrk="0" hangingPunct="0"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buClr>
                <a:schemeClr val="tx1"/>
              </a:buClr>
            </a:pPr>
            <a:r>
              <a:rPr lang="en-US" sz="2000" b="1" dirty="0">
                <a:solidFill>
                  <a:srgbClr val="FFFFFF"/>
                </a:solidFill>
                <a:ea typeface="MS PGothic" pitchFamily="34" charset="-128"/>
              </a:rPr>
              <a:t>Data breach</a:t>
            </a:r>
          </a:p>
        </p:txBody>
      </p:sp>
      <p:sp>
        <p:nvSpPr>
          <p:cNvPr id="15" name="Rectangle 39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381240" y="2011681"/>
            <a:ext cx="2194560" cy="2989811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5"/>
            </a:solidFill>
            <a:round/>
            <a:headEnd/>
            <a:tailEnd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lIns="130622" tIns="65311" rIns="130622" bIns="65311"/>
          <a:lstStyle/>
          <a:p>
            <a:pPr>
              <a:lnSpc>
                <a:spcPct val="100000"/>
              </a:lnSpc>
            </a:pPr>
            <a:endParaRPr lang="en-CA" sz="2300">
              <a:ea typeface="MS PGothic" pitchFamily="34" charset="-128"/>
            </a:endParaRPr>
          </a:p>
        </p:txBody>
      </p:sp>
      <p:sp>
        <p:nvSpPr>
          <p:cNvPr id="16" name="Pentagon 38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7967980" y="1435100"/>
            <a:ext cx="1021080" cy="2174240"/>
          </a:xfrm>
          <a:prstGeom prst="homePlate">
            <a:avLst>
              <a:gd name="adj" fmla="val 35394"/>
            </a:avLst>
          </a:prstGeom>
          <a:solidFill>
            <a:schemeClr val="accent5"/>
          </a:solidFill>
          <a:ln w="9525">
            <a:solidFill>
              <a:srgbClr val="F19027"/>
            </a:solidFill>
            <a:miter lim="800000"/>
            <a:headEnd/>
            <a:tailEnd/>
          </a:ln>
        </p:spPr>
        <p:txBody>
          <a:bodyPr rot="10800000" vert="eaVert" lIns="130622" tIns="65311" rIns="130622" bIns="65311"/>
          <a:lstStyle/>
          <a:p>
            <a:pPr>
              <a:lnSpc>
                <a:spcPct val="100000"/>
              </a:lnSpc>
            </a:pPr>
            <a:endParaRPr lang="en-CA" sz="2300">
              <a:ea typeface="MS PGothic" pitchFamily="34" charset="-128"/>
            </a:endParaRPr>
          </a:p>
        </p:txBody>
      </p:sp>
      <p:sp>
        <p:nvSpPr>
          <p:cNvPr id="17" name="TextBox 12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371080" y="2042161"/>
            <a:ext cx="2214880" cy="4396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0622" tIns="65311" rIns="130622" bIns="65311">
            <a:spAutoFit/>
          </a:bodyPr>
          <a:lstStyle>
            <a:lvl1pPr marL="3175" eaLnBrk="0" hangingPunct="0"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eaLnBrk="0" hangingPunct="0"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buClr>
                <a:schemeClr val="tx1"/>
              </a:buClr>
            </a:pPr>
            <a:r>
              <a:rPr lang="en-US" sz="2000" b="1" dirty="0">
                <a:solidFill>
                  <a:schemeClr val="bg2"/>
                </a:solidFill>
                <a:ea typeface="MS PGothic" pitchFamily="34" charset="-128"/>
              </a:rPr>
              <a:t>Fraud</a:t>
            </a:r>
          </a:p>
        </p:txBody>
      </p:sp>
      <p:sp>
        <p:nvSpPr>
          <p:cNvPr id="19" name="Rectangle 36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9649461" y="2011681"/>
            <a:ext cx="2194560" cy="2989811"/>
          </a:xfrm>
          <a:prstGeom prst="rect">
            <a:avLst/>
          </a:prstGeom>
          <a:solidFill>
            <a:srgbClr val="FFFFFF"/>
          </a:solidFill>
          <a:ln w="9525">
            <a:solidFill>
              <a:srgbClr val="F04E37"/>
            </a:solidFill>
            <a:round/>
            <a:headEnd/>
            <a:tailEnd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lIns="130622" tIns="65311" rIns="130622" bIns="65311"/>
          <a:lstStyle/>
          <a:p>
            <a:pPr>
              <a:lnSpc>
                <a:spcPct val="100000"/>
              </a:lnSpc>
            </a:pPr>
            <a:endParaRPr lang="en-CA" sz="2300">
              <a:ea typeface="MS PGothic" pitchFamily="34" charset="-128"/>
            </a:endParaRPr>
          </a:p>
        </p:txBody>
      </p:sp>
      <p:sp>
        <p:nvSpPr>
          <p:cNvPr id="20" name="Pentagon 35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 rot="5400000">
            <a:off x="10236201" y="1435100"/>
            <a:ext cx="1021080" cy="2174240"/>
          </a:xfrm>
          <a:prstGeom prst="homePlate">
            <a:avLst>
              <a:gd name="adj" fmla="val 35394"/>
            </a:avLst>
          </a:prstGeom>
          <a:solidFill>
            <a:srgbClr val="CE270F"/>
          </a:solidFill>
          <a:ln w="9525">
            <a:solidFill>
              <a:schemeClr val="accent4"/>
            </a:solidFill>
            <a:miter lim="800000"/>
            <a:headEnd/>
            <a:tailEnd/>
          </a:ln>
        </p:spPr>
        <p:txBody>
          <a:bodyPr rot="10800000" vert="eaVert" lIns="130622" tIns="65311" rIns="130622" bIns="65311"/>
          <a:lstStyle/>
          <a:p>
            <a:pPr>
              <a:lnSpc>
                <a:spcPct val="100000"/>
              </a:lnSpc>
            </a:pPr>
            <a:endParaRPr lang="en-CA" sz="2300">
              <a:ea typeface="MS PGothic" pitchFamily="34" charset="-128"/>
            </a:endParaRPr>
          </a:p>
        </p:txBody>
      </p:sp>
      <p:sp>
        <p:nvSpPr>
          <p:cNvPr id="21" name="TextBox 13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9639301" y="2042160"/>
            <a:ext cx="2214880" cy="747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0622" tIns="65311" rIns="130622" bIns="65311">
            <a:spAutoFit/>
          </a:bodyPr>
          <a:lstStyle>
            <a:lvl1pPr marL="3175" eaLnBrk="0" hangingPunct="0"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buClr>
                <a:schemeClr val="tx1"/>
              </a:buClr>
            </a:pPr>
            <a:r>
              <a:rPr lang="en-US" sz="2000" b="1" dirty="0">
                <a:solidFill>
                  <a:srgbClr val="FFFFFF"/>
                </a:solidFill>
                <a:ea typeface="MS PGothic" pitchFamily="34" charset="-128"/>
              </a:rPr>
              <a:t>Impact of hacktivism</a:t>
            </a:r>
          </a:p>
        </p:txBody>
      </p:sp>
      <p:sp>
        <p:nvSpPr>
          <p:cNvPr id="23" name="Rectangle 33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1917680" y="2011681"/>
            <a:ext cx="2194560" cy="2989811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4">
                <a:lumMod val="50000"/>
              </a:schemeClr>
            </a:solidFill>
            <a:round/>
            <a:headEnd/>
            <a:tailEnd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lIns="130622" tIns="65311" rIns="130622" bIns="65311"/>
          <a:lstStyle/>
          <a:p>
            <a:pPr>
              <a:lnSpc>
                <a:spcPct val="100000"/>
              </a:lnSpc>
            </a:pPr>
            <a:endParaRPr lang="en-CA" sz="2300">
              <a:ea typeface="MS PGothic" pitchFamily="34" charset="-128"/>
            </a:endParaRPr>
          </a:p>
        </p:txBody>
      </p:sp>
      <p:sp>
        <p:nvSpPr>
          <p:cNvPr id="24" name="Pentagon 32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 rot="5400000">
            <a:off x="12504420" y="1435100"/>
            <a:ext cx="1021080" cy="2174240"/>
          </a:xfrm>
          <a:prstGeom prst="homePlate">
            <a:avLst>
              <a:gd name="adj" fmla="val 35394"/>
            </a:avLst>
          </a:prstGeom>
          <a:solidFill>
            <a:srgbClr val="800000"/>
          </a:solidFill>
          <a:ln w="9525">
            <a:solidFill>
              <a:srgbClr val="9D1C0A"/>
            </a:solidFill>
            <a:miter lim="800000"/>
            <a:headEnd/>
            <a:tailEnd/>
          </a:ln>
        </p:spPr>
        <p:txBody>
          <a:bodyPr rot="10800000" vert="eaVert" lIns="130622" tIns="65311" rIns="130622" bIns="65311"/>
          <a:lstStyle/>
          <a:p>
            <a:pPr>
              <a:lnSpc>
                <a:spcPct val="100000"/>
              </a:lnSpc>
            </a:pPr>
            <a:endParaRPr lang="en-CA" sz="2300">
              <a:ea typeface="MS PGothic" pitchFamily="34" charset="-128"/>
            </a:endParaRPr>
          </a:p>
        </p:txBody>
      </p:sp>
      <p:sp>
        <p:nvSpPr>
          <p:cNvPr id="25" name="TextBox 14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1907520" y="2042161"/>
            <a:ext cx="2214880" cy="4396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0622" tIns="65311" rIns="130622" bIns="65311">
            <a:spAutoFit/>
          </a:bodyPr>
          <a:lstStyle>
            <a:lvl1pPr marL="3175" eaLnBrk="0" hangingPunct="0"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buClr>
                <a:schemeClr val="tx1"/>
              </a:buClr>
            </a:pPr>
            <a:r>
              <a:rPr lang="en-US" sz="2000" b="1" dirty="0">
                <a:solidFill>
                  <a:srgbClr val="FFFFFF"/>
                </a:solidFill>
                <a:ea typeface="MS PGothic" pitchFamily="34" charset="-128"/>
              </a:rPr>
              <a:t>Audit risk</a:t>
            </a:r>
          </a:p>
        </p:txBody>
      </p:sp>
      <p:sp>
        <p:nvSpPr>
          <p:cNvPr id="27" name="Rectangle 45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2786381" y="2011681"/>
            <a:ext cx="2194560" cy="2989811"/>
          </a:xfrm>
          <a:prstGeom prst="rect">
            <a:avLst/>
          </a:prstGeom>
          <a:solidFill>
            <a:schemeClr val="bg1">
              <a:alpha val="25098"/>
            </a:schemeClr>
          </a:solidFill>
          <a:ln w="9525">
            <a:solidFill>
              <a:schemeClr val="bg2"/>
            </a:solidFill>
            <a:round/>
            <a:headEnd/>
            <a:tailEnd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lIns="130622" tIns="65311" rIns="130622" bIns="65311"/>
          <a:lstStyle/>
          <a:p>
            <a:pPr>
              <a:lnSpc>
                <a:spcPct val="100000"/>
              </a:lnSpc>
            </a:pPr>
            <a:endParaRPr lang="en-CA" sz="2300">
              <a:ea typeface="MS PGothic" pitchFamily="34" charset="-128"/>
            </a:endParaRPr>
          </a:p>
        </p:txBody>
      </p:sp>
      <p:sp>
        <p:nvSpPr>
          <p:cNvPr id="30" name="Rectangle 32"/>
          <p:cNvSpPr>
            <a:spLocks noChangeArrowheads="1"/>
          </p:cNvSpPr>
          <p:nvPr/>
        </p:nvSpPr>
        <p:spPr bwMode="auto">
          <a:xfrm>
            <a:off x="5080000" y="3068902"/>
            <a:ext cx="2235200" cy="1978557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4F7D93"/>
            </a:prst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30622" tIns="65311" rIns="130622" bIns="65311">
            <a:spAutoFit/>
          </a:bodyPr>
          <a:lstStyle/>
          <a:p>
            <a:r>
              <a:rPr lang="en-US" sz="1500" dirty="0">
                <a:solidFill>
                  <a:schemeClr val="bg1"/>
                </a:solidFill>
              </a:rPr>
              <a:t>There were 253 large-scale data breaches globally in 2013, a 62 percent rise from 2012. And eight of these </a:t>
            </a:r>
            <a:r>
              <a:rPr lang="en-US" sz="1500" b="1" dirty="0">
                <a:solidFill>
                  <a:schemeClr val="bg1"/>
                </a:solidFill>
              </a:rPr>
              <a:t>exposed more than 10 million identities each</a:t>
            </a:r>
            <a:r>
              <a:rPr lang="en-US" sz="1500" baseline="30000" dirty="0">
                <a:solidFill>
                  <a:schemeClr val="bg1"/>
                </a:solidFill>
              </a:rPr>
              <a:t>4</a:t>
            </a:r>
            <a:r>
              <a:rPr lang="en-US" sz="1500" b="1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32" name="Rectangle 35"/>
          <p:cNvSpPr>
            <a:spLocks noChangeArrowheads="1"/>
          </p:cNvSpPr>
          <p:nvPr/>
        </p:nvSpPr>
        <p:spPr bwMode="auto">
          <a:xfrm>
            <a:off x="9712960" y="3068902"/>
            <a:ext cx="2194560" cy="1747725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4F7D93"/>
            </a:prst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0622" tIns="65311" rIns="130622" bIns="65311">
            <a:spAutoFit/>
          </a:bodyPr>
          <a:lstStyle/>
          <a:p>
            <a:r>
              <a:rPr lang="en-US" sz="1500" dirty="0">
                <a:solidFill>
                  <a:schemeClr val="bg1"/>
                </a:solidFill>
              </a:rPr>
              <a:t>Anonymous Brazil, through </a:t>
            </a:r>
            <a:r>
              <a:rPr lang="en-US" sz="1500" b="1" dirty="0">
                <a:solidFill>
                  <a:schemeClr val="bg1"/>
                </a:solidFill>
              </a:rPr>
              <a:t>a series of DDoS</a:t>
            </a:r>
            <a:r>
              <a:rPr lang="en-US" sz="1500" baseline="30000" dirty="0">
                <a:solidFill>
                  <a:schemeClr val="bg1"/>
                </a:solidFill>
              </a:rPr>
              <a:t>6</a:t>
            </a:r>
            <a:r>
              <a:rPr lang="en-US" sz="1500" b="1" dirty="0">
                <a:solidFill>
                  <a:schemeClr val="bg1"/>
                </a:solidFill>
              </a:rPr>
              <a:t> and web site defacement </a:t>
            </a:r>
            <a:r>
              <a:rPr lang="en-US" sz="1500" dirty="0">
                <a:solidFill>
                  <a:schemeClr val="bg1"/>
                </a:solidFill>
              </a:rPr>
              <a:t>attacks, protested the social injustice surrounding the World Cup 2014</a:t>
            </a:r>
            <a:r>
              <a:rPr lang="en-US" sz="1500" baseline="30000" dirty="0">
                <a:solidFill>
                  <a:schemeClr val="bg1"/>
                </a:solidFill>
              </a:rPr>
              <a:t>7</a:t>
            </a:r>
            <a:endParaRPr lang="de-DE" sz="1500" baseline="30000" dirty="0">
              <a:solidFill>
                <a:schemeClr val="bg1"/>
              </a:solidFill>
              <a:ea typeface="MS PGothic" pitchFamily="34" charset="-128"/>
            </a:endParaRPr>
          </a:p>
        </p:txBody>
      </p:sp>
      <p:sp>
        <p:nvSpPr>
          <p:cNvPr id="36" name="Rectangle 32"/>
          <p:cNvSpPr>
            <a:spLocks noChangeArrowheads="1"/>
          </p:cNvSpPr>
          <p:nvPr/>
        </p:nvSpPr>
        <p:spPr bwMode="auto">
          <a:xfrm>
            <a:off x="471055" y="3068902"/>
            <a:ext cx="2244437" cy="1978557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4F7D93"/>
            </a:prst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30622" tIns="65311" rIns="130622" bIns="65311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1500" dirty="0">
                <a:solidFill>
                  <a:srgbClr val="000000"/>
                </a:solidFill>
                <a:ea typeface="MS PGothic" pitchFamily="34" charset="-128"/>
              </a:rPr>
              <a:t>After its recent data breach, a retailer reported US$148M</a:t>
            </a:r>
            <a:r>
              <a:rPr lang="en-US" sz="1500" baseline="30000" dirty="0">
                <a:solidFill>
                  <a:srgbClr val="000000"/>
                </a:solidFill>
                <a:ea typeface="MS PGothic" pitchFamily="34" charset="-128"/>
              </a:rPr>
              <a:t>1</a:t>
            </a:r>
            <a:r>
              <a:rPr lang="en-US" sz="1500" dirty="0">
                <a:solidFill>
                  <a:srgbClr val="000000"/>
                </a:solidFill>
                <a:ea typeface="MS PGothic" pitchFamily="34" charset="-128"/>
              </a:rPr>
              <a:t> in data breach-related expenses, but </a:t>
            </a:r>
            <a:r>
              <a:rPr lang="en-US" sz="1500" b="1" dirty="0">
                <a:solidFill>
                  <a:srgbClr val="000000"/>
                </a:solidFill>
                <a:ea typeface="MS PGothic" pitchFamily="34" charset="-128"/>
              </a:rPr>
              <a:t>executives estimate a total cost of US$1 to US2B</a:t>
            </a:r>
            <a:r>
              <a:rPr lang="en-US" sz="1500" baseline="30000" dirty="0">
                <a:solidFill>
                  <a:srgbClr val="000000"/>
                </a:solidFill>
                <a:ea typeface="MS PGothic" pitchFamily="34" charset="-128"/>
              </a:rPr>
              <a:t>2 </a:t>
            </a:r>
            <a:r>
              <a:rPr lang="en-US" sz="1500" b="1" dirty="0">
                <a:solidFill>
                  <a:srgbClr val="000000"/>
                </a:solidFill>
                <a:ea typeface="MS PGothic" pitchFamily="34" charset="-128"/>
              </a:rPr>
              <a:t> </a:t>
            </a:r>
            <a:endParaRPr lang="de-DE" sz="1500" b="1" dirty="0">
              <a:solidFill>
                <a:srgbClr val="000000"/>
              </a:solidFill>
              <a:ea typeface="MS PGothic" pitchFamily="34" charset="-128"/>
            </a:endParaRPr>
          </a:p>
        </p:txBody>
      </p:sp>
      <p:sp>
        <p:nvSpPr>
          <p:cNvPr id="38" name="Rectangle 37"/>
          <p:cNvSpPr/>
          <p:nvPr/>
        </p:nvSpPr>
        <p:spPr bwMode="auto">
          <a:xfrm>
            <a:off x="487680" y="5539757"/>
            <a:ext cx="13640214" cy="224773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rot="0" spcFirstLastPara="0" vertOverflow="overflow" horzOverflow="overflow" vert="horz" wrap="square" lIns="130622" tIns="65311" rIns="130622" bIns="6531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endParaRPr lang="en-US" sz="2000" kern="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528321" y="5463489"/>
            <a:ext cx="2111826" cy="1086005"/>
          </a:xfrm>
          <a:prstGeom prst="rect">
            <a:avLst/>
          </a:prstGeom>
          <a:noFill/>
        </p:spPr>
        <p:txBody>
          <a:bodyPr wrap="square" lIns="130622" tIns="65311" rIns="130622" bIns="65311" rtlCol="0">
            <a:spAutoFit/>
          </a:bodyPr>
          <a:lstStyle/>
          <a:p>
            <a:pPr algn="ctr" defTabSz="1305609" fontAlgn="auto">
              <a:spcBef>
                <a:spcPts val="0"/>
              </a:spcBef>
              <a:spcAft>
                <a:spcPts val="0"/>
              </a:spcAft>
              <a:tabLst>
                <a:tab pos="3140826" algn="l"/>
              </a:tabLst>
              <a:defRPr/>
            </a:pPr>
            <a:r>
              <a:rPr lang="en-US" sz="3100" b="1" dirty="0">
                <a:solidFill>
                  <a:schemeClr val="accent4">
                    <a:lumMod val="75000"/>
                  </a:schemeClr>
                </a:solidFill>
              </a:rPr>
              <a:t>US </a:t>
            </a:r>
            <a:r>
              <a:rPr lang="en-US" sz="3100" b="1" baseline="22000" dirty="0">
                <a:solidFill>
                  <a:schemeClr val="accent4">
                    <a:lumMod val="75000"/>
                  </a:schemeClr>
                </a:solidFill>
              </a:rPr>
              <a:t>$</a:t>
            </a:r>
            <a:r>
              <a:rPr lang="en-US" sz="3100" b="1" dirty="0">
                <a:solidFill>
                  <a:schemeClr val="accent4">
                    <a:lumMod val="75000"/>
                  </a:schemeClr>
                </a:solidFill>
              </a:rPr>
              <a:t>5.85M</a:t>
            </a:r>
            <a:endParaRPr lang="en-US" sz="3100" spc="-43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2357120" y="5587045"/>
            <a:ext cx="3088640" cy="839784"/>
          </a:xfrm>
          <a:prstGeom prst="rect">
            <a:avLst/>
          </a:prstGeom>
          <a:noFill/>
        </p:spPr>
        <p:txBody>
          <a:bodyPr wrap="square" lIns="130622" tIns="65311" rIns="130622" bIns="65311" rtlCol="0">
            <a:spAutoFit/>
          </a:bodyPr>
          <a:lstStyle/>
          <a:p>
            <a:pPr algn="ctr" defTabSz="1305609" fontAlgn="auto">
              <a:spcBef>
                <a:spcPts val="857"/>
              </a:spcBef>
              <a:spcAft>
                <a:spcPts val="0"/>
              </a:spcAft>
              <a:tabLst>
                <a:tab pos="2700884" algn="l"/>
              </a:tabLst>
              <a:defRPr/>
            </a:pPr>
            <a:r>
              <a:rPr lang="en-US" sz="2300" spc="-43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average cost of a data breach</a:t>
            </a:r>
          </a:p>
        </p:txBody>
      </p:sp>
      <p:grpSp>
        <p:nvGrpSpPr>
          <p:cNvPr id="44" name="Group 43"/>
          <p:cNvGrpSpPr/>
          <p:nvPr/>
        </p:nvGrpSpPr>
        <p:grpSpPr>
          <a:xfrm>
            <a:off x="5528163" y="5763880"/>
            <a:ext cx="3615837" cy="408320"/>
            <a:chOff x="2345877" y="4951565"/>
            <a:chExt cx="2840260" cy="425697"/>
          </a:xfrm>
        </p:grpSpPr>
        <p:grpSp>
          <p:nvGrpSpPr>
            <p:cNvPr id="45" name="Group 44"/>
            <p:cNvGrpSpPr/>
            <p:nvPr/>
          </p:nvGrpSpPr>
          <p:grpSpPr>
            <a:xfrm>
              <a:off x="2345877" y="4951565"/>
              <a:ext cx="1407114" cy="425697"/>
              <a:chOff x="3682475" y="2812210"/>
              <a:chExt cx="1407114" cy="425697"/>
            </a:xfrm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53" name="Group 52"/>
              <p:cNvGrpSpPr/>
              <p:nvPr/>
            </p:nvGrpSpPr>
            <p:grpSpPr>
              <a:xfrm>
                <a:off x="3682475" y="2812210"/>
                <a:ext cx="691123" cy="425697"/>
                <a:chOff x="-2622081" y="4895405"/>
                <a:chExt cx="3473534" cy="2139519"/>
              </a:xfrm>
            </p:grpSpPr>
            <p:pic>
              <p:nvPicPr>
                <p:cNvPr id="57" name="Picture 56"/>
                <p:cNvPicPr>
                  <a:picLocks noChangeAspect="1"/>
                </p:cNvPicPr>
                <p:nvPr/>
              </p:nvPicPr>
              <p:blipFill>
                <a:blip r:embed="rId23" cstate="print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lum/>
                  <a:extLst>
                    <a:ext uri="{28A0092B-C50C-407E-A947-70E740481C1C}">
                      <a14:useLocalDpi xmlns:a14="http://schemas.microsoft.com/office/drawing/2010/main" xmlns="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2622081" y="4895405"/>
                  <a:ext cx="1670166" cy="2139519"/>
                </a:xfrm>
                <a:prstGeom prst="rect">
                  <a:avLst/>
                </a:prstGeom>
              </p:spPr>
            </p:pic>
            <p:pic>
              <p:nvPicPr>
                <p:cNvPr id="58" name="Picture 57"/>
                <p:cNvPicPr>
                  <a:picLocks noChangeAspect="1"/>
                </p:cNvPicPr>
                <p:nvPr/>
              </p:nvPicPr>
              <p:blipFill>
                <a:blip r:embed="rId24" cstate="print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lum/>
                  <a:extLst>
                    <a:ext uri="{28A0092B-C50C-407E-A947-70E740481C1C}">
                      <a14:useLocalDpi xmlns:a14="http://schemas.microsoft.com/office/drawing/2010/main" xmlns="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818713" y="4913689"/>
                  <a:ext cx="1670166" cy="2121235"/>
                </a:xfrm>
                <a:prstGeom prst="rect">
                  <a:avLst/>
                </a:prstGeom>
              </p:spPr>
            </p:pic>
          </p:grpSp>
          <p:grpSp>
            <p:nvGrpSpPr>
              <p:cNvPr id="54" name="Group 53"/>
              <p:cNvGrpSpPr/>
              <p:nvPr/>
            </p:nvGrpSpPr>
            <p:grpSpPr>
              <a:xfrm>
                <a:off x="4398466" y="2812210"/>
                <a:ext cx="691123" cy="425697"/>
                <a:chOff x="-2448665" y="4895405"/>
                <a:chExt cx="3473533" cy="2139519"/>
              </a:xfrm>
            </p:grpSpPr>
            <p:pic>
              <p:nvPicPr>
                <p:cNvPr id="55" name="Picture 54"/>
                <p:cNvPicPr>
                  <a:picLocks noChangeAspect="1"/>
                </p:cNvPicPr>
                <p:nvPr/>
              </p:nvPicPr>
              <p:blipFill>
                <a:blip r:embed="rId23" cstate="print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lum/>
                  <a:extLst>
                    <a:ext uri="{28A0092B-C50C-407E-A947-70E740481C1C}">
                      <a14:useLocalDpi xmlns:a14="http://schemas.microsoft.com/office/drawing/2010/main" xmlns="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2448665" y="4895405"/>
                  <a:ext cx="1670165" cy="2139519"/>
                </a:xfrm>
                <a:prstGeom prst="rect">
                  <a:avLst/>
                </a:prstGeom>
              </p:spPr>
            </p:pic>
            <p:pic>
              <p:nvPicPr>
                <p:cNvPr id="56" name="Picture 55"/>
                <p:cNvPicPr>
                  <a:picLocks noChangeAspect="1"/>
                </p:cNvPicPr>
                <p:nvPr/>
              </p:nvPicPr>
              <p:blipFill>
                <a:blip r:embed="rId24" cstate="print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lum/>
                  <a:extLst>
                    <a:ext uri="{28A0092B-C50C-407E-A947-70E740481C1C}">
                      <a14:useLocalDpi xmlns:a14="http://schemas.microsoft.com/office/drawing/2010/main" xmlns="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645298" y="4913691"/>
                  <a:ext cx="1670166" cy="2121233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46" name="Group 45"/>
            <p:cNvGrpSpPr/>
            <p:nvPr/>
          </p:nvGrpSpPr>
          <p:grpSpPr>
            <a:xfrm>
              <a:off x="3779023" y="4951565"/>
              <a:ext cx="1407114" cy="425697"/>
              <a:chOff x="3682475" y="2812210"/>
              <a:chExt cx="1407114" cy="425697"/>
            </a:xfrm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47" name="Group 46"/>
              <p:cNvGrpSpPr/>
              <p:nvPr/>
            </p:nvGrpSpPr>
            <p:grpSpPr>
              <a:xfrm>
                <a:off x="3682475" y="2812210"/>
                <a:ext cx="691123" cy="425697"/>
                <a:chOff x="-2622081" y="4895405"/>
                <a:chExt cx="3473534" cy="2139519"/>
              </a:xfrm>
            </p:grpSpPr>
            <p:pic>
              <p:nvPicPr>
                <p:cNvPr id="51" name="Picture 50"/>
                <p:cNvPicPr>
                  <a:picLocks noChangeAspect="1"/>
                </p:cNvPicPr>
                <p:nvPr/>
              </p:nvPicPr>
              <p:blipFill>
                <a:blip r:embed="rId23" cstate="print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lum/>
                  <a:extLst>
                    <a:ext uri="{28A0092B-C50C-407E-A947-70E740481C1C}">
                      <a14:useLocalDpi xmlns:a14="http://schemas.microsoft.com/office/drawing/2010/main" xmlns="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2622081" y="4895405"/>
                  <a:ext cx="1670166" cy="2139519"/>
                </a:xfrm>
                <a:prstGeom prst="rect">
                  <a:avLst/>
                </a:prstGeom>
              </p:spPr>
            </p:pic>
            <p:pic>
              <p:nvPicPr>
                <p:cNvPr id="52" name="Picture 51"/>
                <p:cNvPicPr>
                  <a:picLocks noChangeAspect="1"/>
                </p:cNvPicPr>
                <p:nvPr/>
              </p:nvPicPr>
              <p:blipFill>
                <a:blip r:embed="rId24" cstate="print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lum/>
                  <a:extLst>
                    <a:ext uri="{28A0092B-C50C-407E-A947-70E740481C1C}">
                      <a14:useLocalDpi xmlns:a14="http://schemas.microsoft.com/office/drawing/2010/main" xmlns="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818713" y="4913689"/>
                  <a:ext cx="1670166" cy="2121235"/>
                </a:xfrm>
                <a:prstGeom prst="rect">
                  <a:avLst/>
                </a:prstGeom>
              </p:spPr>
            </p:pic>
          </p:grpSp>
          <p:grpSp>
            <p:nvGrpSpPr>
              <p:cNvPr id="48" name="Group 47"/>
              <p:cNvGrpSpPr/>
              <p:nvPr/>
            </p:nvGrpSpPr>
            <p:grpSpPr>
              <a:xfrm>
                <a:off x="4398466" y="2812210"/>
                <a:ext cx="691123" cy="425697"/>
                <a:chOff x="-2448665" y="4895405"/>
                <a:chExt cx="3473533" cy="2139519"/>
              </a:xfrm>
            </p:grpSpPr>
            <p:pic>
              <p:nvPicPr>
                <p:cNvPr id="49" name="Picture 48"/>
                <p:cNvPicPr>
                  <a:picLocks noChangeAspect="1"/>
                </p:cNvPicPr>
                <p:nvPr/>
              </p:nvPicPr>
              <p:blipFill>
                <a:blip r:embed="rId23" cstate="print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lum/>
                  <a:extLst>
                    <a:ext uri="{28A0092B-C50C-407E-A947-70E740481C1C}">
                      <a14:useLocalDpi xmlns:a14="http://schemas.microsoft.com/office/drawing/2010/main" xmlns="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2448665" y="4895405"/>
                  <a:ext cx="1670165" cy="2139519"/>
                </a:xfrm>
                <a:prstGeom prst="rect">
                  <a:avLst/>
                </a:prstGeom>
              </p:spPr>
            </p:pic>
            <p:pic>
              <p:nvPicPr>
                <p:cNvPr id="50" name="Picture 49"/>
                <p:cNvPicPr>
                  <a:picLocks noChangeAspect="1"/>
                </p:cNvPicPr>
                <p:nvPr/>
              </p:nvPicPr>
              <p:blipFill>
                <a:blip r:embed="rId24" cstate="print">
                  <a:duotone>
                    <a:schemeClr val="accent4">
                      <a:shade val="45000"/>
                      <a:satMod val="135000"/>
                    </a:schemeClr>
                    <a:prstClr val="white"/>
                  </a:duotone>
                  <a:lum/>
                  <a:extLst>
                    <a:ext uri="{28A0092B-C50C-407E-A947-70E740481C1C}">
                      <a14:useLocalDpi xmlns:a14="http://schemas.microsoft.com/office/drawing/2010/main" xmlns="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-645298" y="4913691"/>
                  <a:ext cx="1670166" cy="2121233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60" name="Rectangle 2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2773680" y="2011681"/>
            <a:ext cx="2194560" cy="2989811"/>
          </a:xfrm>
          <a:prstGeom prst="rect">
            <a:avLst/>
          </a:prstGeom>
          <a:solidFill>
            <a:srgbClr val="FFFFFF"/>
          </a:solidFill>
          <a:ln w="9525">
            <a:solidFill>
              <a:schemeClr val="tx2">
                <a:lumMod val="75000"/>
              </a:schemeClr>
            </a:solidFill>
            <a:round/>
            <a:headEnd/>
            <a:tailEnd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  <p:txBody>
          <a:bodyPr lIns="130622" tIns="65311" rIns="130622" bIns="65311"/>
          <a:lstStyle/>
          <a:p>
            <a:pPr>
              <a:lnSpc>
                <a:spcPct val="100000"/>
              </a:lnSpc>
            </a:pPr>
            <a:endParaRPr lang="en-CA" sz="2300">
              <a:ea typeface="MS PGothic" pitchFamily="34" charset="-128"/>
            </a:endParaRPr>
          </a:p>
        </p:txBody>
      </p:sp>
      <p:sp>
        <p:nvSpPr>
          <p:cNvPr id="28" name="Pentagon 44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 rot="5400000">
            <a:off x="3373121" y="1435100"/>
            <a:ext cx="1021080" cy="2174240"/>
          </a:xfrm>
          <a:prstGeom prst="homePlate">
            <a:avLst>
              <a:gd name="adj" fmla="val 35394"/>
            </a:avLst>
          </a:prstGeom>
          <a:solidFill>
            <a:schemeClr val="bg2"/>
          </a:solidFill>
          <a:ln w="9525">
            <a:solidFill>
              <a:srgbClr val="0099CC"/>
            </a:solidFill>
            <a:miter lim="800000"/>
            <a:headEnd/>
            <a:tailEnd/>
          </a:ln>
        </p:spPr>
        <p:txBody>
          <a:bodyPr rot="10800000" vert="eaVert" lIns="130622" tIns="65311" rIns="130622" bIns="65311"/>
          <a:lstStyle/>
          <a:p>
            <a:pPr>
              <a:lnSpc>
                <a:spcPct val="100000"/>
              </a:lnSpc>
            </a:pPr>
            <a:endParaRPr lang="en-CA" sz="2300">
              <a:ea typeface="MS PGothic" pitchFamily="34" charset="-128"/>
            </a:endParaRPr>
          </a:p>
        </p:txBody>
      </p:sp>
      <p:sp>
        <p:nvSpPr>
          <p:cNvPr id="29" name="TextBox 10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2755901" y="2042161"/>
            <a:ext cx="2255520" cy="4396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0622" tIns="65311" rIns="130622" bIns="65311">
            <a:spAutoFit/>
          </a:bodyPr>
          <a:lstStyle>
            <a:lvl1pPr eaLnBrk="0" hangingPunct="0"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eaLnBrk="0" hangingPunct="0"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1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buClr>
                <a:schemeClr val="tx1"/>
              </a:buClr>
            </a:pPr>
            <a:r>
              <a:rPr lang="en-US" sz="2000" b="1" dirty="0">
                <a:solidFill>
                  <a:srgbClr val="FFFFFF"/>
                </a:solidFill>
                <a:ea typeface="MS PGothic" pitchFamily="34" charset="-128"/>
              </a:rPr>
              <a:t>Brand image</a:t>
            </a:r>
          </a:p>
        </p:txBody>
      </p:sp>
      <p:sp>
        <p:nvSpPr>
          <p:cNvPr id="5" name="Rectangle 4"/>
          <p:cNvSpPr/>
          <p:nvPr/>
        </p:nvSpPr>
        <p:spPr>
          <a:xfrm>
            <a:off x="2828175" y="3068902"/>
            <a:ext cx="2233352" cy="1747725"/>
          </a:xfrm>
          <a:prstGeom prst="rect">
            <a:avLst/>
          </a:prstGeom>
        </p:spPr>
        <p:txBody>
          <a:bodyPr wrap="square" lIns="130622" tIns="65311" rIns="130622" bIns="65311">
            <a:spAutoFit/>
          </a:bodyPr>
          <a:lstStyle/>
          <a:p>
            <a:pPr marL="0" lvl="1" eaLnBrk="1" hangingPunct="1">
              <a:buClr>
                <a:schemeClr val="tx1"/>
              </a:buClr>
            </a:pPr>
            <a:r>
              <a:rPr lang="en-US" sz="1500" dirty="0">
                <a:solidFill>
                  <a:srgbClr val="000000"/>
                </a:solidFill>
                <a:ea typeface="MS PGothic" pitchFamily="34" charset="-128"/>
              </a:rPr>
              <a:t>The retailer also suffered major brand damage after the breach, </a:t>
            </a:r>
            <a:r>
              <a:rPr lang="en-US" sz="1500" b="1" dirty="0">
                <a:solidFill>
                  <a:srgbClr val="000000"/>
                </a:solidFill>
                <a:ea typeface="MS PGothic" pitchFamily="34" charset="-128"/>
              </a:rPr>
              <a:t>falling from a consistent top 10 to number 21 </a:t>
            </a:r>
            <a:r>
              <a:rPr lang="en-US" sz="1500" dirty="0">
                <a:solidFill>
                  <a:srgbClr val="000000"/>
                </a:solidFill>
                <a:ea typeface="MS PGothic" pitchFamily="34" charset="-128"/>
              </a:rPr>
              <a:t>in the 2013 Brand Index  rankings</a:t>
            </a:r>
            <a:r>
              <a:rPr lang="en-US" sz="1500" baseline="30000" dirty="0">
                <a:solidFill>
                  <a:srgbClr val="000000"/>
                </a:solidFill>
                <a:ea typeface="MS PGothic" pitchFamily="34" charset="-128"/>
              </a:rPr>
              <a:t>3</a:t>
            </a:r>
          </a:p>
        </p:txBody>
      </p:sp>
      <p:sp>
        <p:nvSpPr>
          <p:cNvPr id="6" name="Rectangle 5"/>
          <p:cNvSpPr/>
          <p:nvPr/>
        </p:nvSpPr>
        <p:spPr>
          <a:xfrm>
            <a:off x="11907520" y="3068902"/>
            <a:ext cx="2255520" cy="1516892"/>
          </a:xfrm>
          <a:prstGeom prst="rect">
            <a:avLst/>
          </a:prstGeom>
        </p:spPr>
        <p:txBody>
          <a:bodyPr wrap="square" lIns="130622" tIns="65311" rIns="130622" bIns="65311">
            <a:spAutoFit/>
          </a:bodyPr>
          <a:lstStyle/>
          <a:p>
            <a:pPr marL="0" lvl="1" eaLnBrk="1" hangingPunct="1">
              <a:buClr>
                <a:schemeClr val="tx1"/>
              </a:buClr>
            </a:pPr>
            <a:r>
              <a:rPr lang="en-US" sz="1500" dirty="0">
                <a:solidFill>
                  <a:srgbClr val="000000"/>
                </a:solidFill>
                <a:ea typeface="MS PGothic" pitchFamily="34" charset="-128"/>
              </a:rPr>
              <a:t>A major medical center and hospital were jointly </a:t>
            </a:r>
            <a:r>
              <a:rPr lang="en-US" sz="1500" b="1" dirty="0">
                <a:solidFill>
                  <a:srgbClr val="000000"/>
                </a:solidFill>
                <a:ea typeface="MS PGothic" pitchFamily="34" charset="-128"/>
              </a:rPr>
              <a:t>fined US$4.8M for a data breach</a:t>
            </a:r>
            <a:r>
              <a:rPr lang="en-US" sz="1500" dirty="0">
                <a:solidFill>
                  <a:srgbClr val="000000"/>
                </a:solidFill>
                <a:ea typeface="MS PGothic" pitchFamily="34" charset="-128"/>
              </a:rPr>
              <a:t> that compromised patient health records</a:t>
            </a:r>
            <a:r>
              <a:rPr lang="en-US" sz="1500" baseline="30000" dirty="0">
                <a:solidFill>
                  <a:srgbClr val="000000"/>
                </a:solidFill>
                <a:ea typeface="MS PGothic" pitchFamily="34" charset="-128"/>
              </a:rPr>
              <a:t>8</a:t>
            </a:r>
          </a:p>
        </p:txBody>
      </p:sp>
      <p:sp>
        <p:nvSpPr>
          <p:cNvPr id="14" name="Isosceles Triangle 13"/>
          <p:cNvSpPr/>
          <p:nvPr/>
        </p:nvSpPr>
        <p:spPr bwMode="auto">
          <a:xfrm flipV="1">
            <a:off x="894080" y="5025048"/>
            <a:ext cx="12842240" cy="365760"/>
          </a:xfrm>
          <a:prstGeom prst="triangle">
            <a:avLst/>
          </a:prstGeom>
          <a:solidFill>
            <a:schemeClr val="accent5"/>
          </a:solidFill>
          <a:ln w="19050">
            <a:noFill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/>
        </p:spPr>
        <p:txBody>
          <a:bodyPr rot="0" spcFirstLastPara="0" vertOverflow="overflow" horzOverflow="overflow" vert="horz" wrap="square" lIns="130622" tIns="65311" rIns="130622" bIns="6531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306220" eaLnBrk="1" hangingPunct="1"/>
            <a:endParaRPr lang="en-US" sz="2300" dirty="0">
              <a:latin typeface="Arial" charset="0"/>
              <a:ea typeface="ＭＳ Ｐゴシック" charset="0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478445" y="6460049"/>
            <a:ext cx="13930282" cy="470452"/>
          </a:xfrm>
          <a:prstGeom prst="rect">
            <a:avLst/>
          </a:prstGeom>
        </p:spPr>
        <p:txBody>
          <a:bodyPr wrap="square" lIns="130622" tIns="65311" rIns="130622" bIns="65311">
            <a:spAutoFit/>
          </a:bodyPr>
          <a:lstStyle/>
          <a:p>
            <a:pPr defTabSz="1305609" fontAlgn="auto">
              <a:spcBef>
                <a:spcPts val="857"/>
              </a:spcBef>
              <a:spcAft>
                <a:spcPts val="0"/>
              </a:spcAft>
              <a:defRPr/>
            </a:pPr>
            <a:r>
              <a:rPr lang="en-US" sz="1100" spc="-43" dirty="0">
                <a:solidFill>
                  <a:schemeClr val="bg1">
                    <a:lumMod val="50000"/>
                  </a:schemeClr>
                </a:solidFill>
              </a:rPr>
              <a:t>1) New York Times, August 5, 2014; 2) International Business Times May 5, 2014;  3) CBS MoneyWatch Jan 2014;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  4) </a:t>
            </a:r>
            <a:r>
              <a:rPr lang="en-US" sz="1100" spc="-43" dirty="0">
                <a:solidFill>
                  <a:schemeClr val="bg1">
                    <a:lumMod val="50000"/>
                  </a:schemeClr>
                </a:solidFill>
              </a:rPr>
              <a:t>Symantec report: Latin American and Caribbean CyberSecurity Trends June 2014; 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5) </a:t>
            </a:r>
            <a:r>
              <a:rPr lang="en-US" sz="1100" spc="-43" dirty="0">
                <a:solidFill>
                  <a:schemeClr val="bg1">
                    <a:lumMod val="50000"/>
                  </a:schemeClr>
                </a:solidFill>
              </a:rPr>
              <a:t>Reuters June 16, 2014;  6) DDoS stands for Distributed Denial of Service;  7) InfoSec Institute; Forbes, June 18, 2014;  8) 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McCann, Healthcare IT News, May 8, 2014;</a:t>
            </a:r>
            <a:r>
              <a:rPr lang="en-US" sz="1100" spc="-43" dirty="0">
                <a:solidFill>
                  <a:schemeClr val="bg1">
                    <a:lumMod val="50000"/>
                  </a:schemeClr>
                </a:solidFill>
              </a:rPr>
              <a:t>  9) Cost of Data Breach, Ponemon Institute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9408160" y="5587045"/>
            <a:ext cx="3264131" cy="839784"/>
          </a:xfrm>
          <a:prstGeom prst="rect">
            <a:avLst/>
          </a:prstGeom>
          <a:noFill/>
        </p:spPr>
        <p:txBody>
          <a:bodyPr wrap="square" lIns="130622" tIns="65311" rIns="130622" bIns="65311" rtlCol="0">
            <a:spAutoFit/>
          </a:bodyPr>
          <a:lstStyle/>
          <a:p>
            <a:pPr algn="ctr" defTabSz="1305609" fontAlgn="auto">
              <a:spcBef>
                <a:spcPts val="857"/>
              </a:spcBef>
              <a:spcAft>
                <a:spcPts val="0"/>
              </a:spcAft>
              <a:tabLst>
                <a:tab pos="2700884" algn="l"/>
              </a:tabLst>
              <a:defRPr/>
            </a:pPr>
            <a:r>
              <a:rPr lang="en-US" sz="2300" spc="-43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average cost of a lost or stolen record</a:t>
            </a:r>
            <a:r>
              <a:rPr lang="en-US" sz="2300" spc="-43" baseline="30000" dirty="0">
                <a:solidFill>
                  <a:srgbClr val="000000">
                    <a:lumMod val="65000"/>
                    <a:lumOff val="35000"/>
                  </a:srgbClr>
                </a:solidFill>
                <a:latin typeface="Arial"/>
              </a:rPr>
              <a:t>9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12389918" y="5463489"/>
            <a:ext cx="1704768" cy="1086005"/>
          </a:xfrm>
          <a:prstGeom prst="rect">
            <a:avLst/>
          </a:prstGeom>
          <a:noFill/>
        </p:spPr>
        <p:txBody>
          <a:bodyPr wrap="square" lIns="130622" tIns="65311" rIns="130622" bIns="65311" rtlCol="0">
            <a:spAutoFit/>
          </a:bodyPr>
          <a:lstStyle/>
          <a:p>
            <a:pPr algn="ctr" defTabSz="1305609" fontAlgn="auto">
              <a:spcBef>
                <a:spcPts val="0"/>
              </a:spcBef>
              <a:spcAft>
                <a:spcPts val="0"/>
              </a:spcAft>
              <a:tabLst>
                <a:tab pos="3140826" algn="l"/>
              </a:tabLst>
              <a:defRPr/>
            </a:pPr>
            <a:r>
              <a:rPr lang="en-US" sz="3100" b="1" dirty="0">
                <a:solidFill>
                  <a:schemeClr val="accent4">
                    <a:lumMod val="75000"/>
                  </a:schemeClr>
                </a:solidFill>
              </a:rPr>
              <a:t>US </a:t>
            </a:r>
            <a:r>
              <a:rPr lang="en-US" sz="3100" b="1" baseline="22000" dirty="0">
                <a:solidFill>
                  <a:schemeClr val="accent4">
                    <a:lumMod val="75000"/>
                  </a:schemeClr>
                </a:solidFill>
              </a:rPr>
              <a:t>$</a:t>
            </a:r>
            <a:r>
              <a:rPr lang="en-US" sz="3100" b="1" dirty="0">
                <a:solidFill>
                  <a:schemeClr val="accent4">
                    <a:lumMod val="75000"/>
                  </a:schemeClr>
                </a:solidFill>
              </a:rPr>
              <a:t>201</a:t>
            </a:r>
            <a:endParaRPr lang="en-US" sz="3100" spc="-43" baseline="30000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65" name="Rectangle 32"/>
          <p:cNvSpPr>
            <a:spLocks noChangeArrowheads="1"/>
          </p:cNvSpPr>
          <p:nvPr/>
        </p:nvSpPr>
        <p:spPr bwMode="auto">
          <a:xfrm>
            <a:off x="7416801" y="3068902"/>
            <a:ext cx="2189016" cy="1978557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4F7D93"/>
            </a:prst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30622" tIns="65311" rIns="130622" bIns="65311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US" sz="1500" dirty="0">
                <a:solidFill>
                  <a:srgbClr val="000000"/>
                </a:solidFill>
                <a:ea typeface="MS PGothic" pitchFamily="34" charset="-128"/>
              </a:rPr>
              <a:t>After stealing customer data on over 600,000 customers of a US-based company in Europe, hackers demanded ransom to not publish the information</a:t>
            </a:r>
            <a:r>
              <a:rPr lang="en-US" sz="1500" baseline="30000" dirty="0">
                <a:solidFill>
                  <a:srgbClr val="000000"/>
                </a:solidFill>
                <a:ea typeface="MS PGothic" pitchFamily="34" charset="-128"/>
              </a:rPr>
              <a:t>5</a:t>
            </a:r>
            <a:endParaRPr lang="de-DE" sz="1500" baseline="30000" dirty="0">
              <a:solidFill>
                <a:srgbClr val="000000"/>
              </a:solidFill>
              <a:ea typeface="MS PGothic" pitchFamily="34" charset="-128"/>
            </a:endParaRPr>
          </a:p>
        </p:txBody>
      </p:sp>
      <p:sp>
        <p:nvSpPr>
          <p:cNvPr id="37" name="Rectangle 36"/>
          <p:cNvSpPr/>
          <p:nvPr/>
        </p:nvSpPr>
        <p:spPr bwMode="auto">
          <a:xfrm>
            <a:off x="736600" y="7042323"/>
            <a:ext cx="13141325" cy="598230"/>
          </a:xfrm>
          <a:prstGeom prst="rect">
            <a:avLst/>
          </a:prstGeom>
          <a:solidFill>
            <a:schemeClr val="bg2"/>
          </a:solidFill>
          <a:ln w="19050">
            <a:noFill/>
          </a:ln>
          <a:effectLst/>
          <a:extLst/>
        </p:spPr>
        <p:txBody>
          <a:bodyPr rot="0" spcFirstLastPara="0" vertOverflow="overflow" horzOverflow="overflow" vert="horz" wrap="square" lIns="130622" tIns="65311" rIns="130622" bIns="6531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306220" eaLnBrk="1" hangingPunct="1"/>
            <a:r>
              <a:rPr lang="en-US" sz="2300" dirty="0">
                <a:solidFill>
                  <a:srgbClr val="FFFFFF"/>
                </a:solidFill>
                <a:latin typeface="Arial" charset="0"/>
                <a:ea typeface="ＭＳ Ｐゴシック" charset="0"/>
              </a:rPr>
              <a:t>How do you know if your security organization is prepared to handle the next threat?</a:t>
            </a:r>
          </a:p>
        </p:txBody>
      </p:sp>
      <p:sp>
        <p:nvSpPr>
          <p:cNvPr id="59" name="Text Box 40"/>
          <p:cNvSpPr txBox="1">
            <a:spLocks noChangeArrowheads="1"/>
          </p:cNvSpPr>
          <p:nvPr/>
        </p:nvSpPr>
        <p:spPr bwMode="auto">
          <a:xfrm>
            <a:off x="13760451" y="7864474"/>
            <a:ext cx="654050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fld id="{D9445864-82E0-4CD0-8997-DA2E783B9D3F}" type="slidenum">
              <a:rPr lang="en-US" altLang="en-US" sz="1100">
                <a:solidFill>
                  <a:srgbClr val="FFFFFF"/>
                </a:solidFill>
              </a:rPr>
              <a:pPr eaLnBrk="1" hangingPunct="1">
                <a:spcBef>
                  <a:spcPct val="50000"/>
                </a:spcBef>
              </a:pPr>
              <a:t>33</a:t>
            </a:fld>
            <a:endParaRPr lang="en-US" altLang="en-US" sz="11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08455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1889148"/>
            <a:ext cx="14630400" cy="5950815"/>
          </a:xfrm>
          <a:prstGeom prst="rect">
            <a:avLst/>
          </a:prstGeom>
          <a:gradFill>
            <a:gsLst>
              <a:gs pos="0">
                <a:schemeClr val="tx1"/>
              </a:gs>
              <a:gs pos="46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1750" b="24905"/>
          <a:stretch/>
        </p:blipFill>
        <p:spPr>
          <a:xfrm>
            <a:off x="-6614" y="4127744"/>
            <a:ext cx="14637016" cy="3676918"/>
          </a:xfrm>
          <a:prstGeom prst="rect">
            <a:avLst/>
          </a:prstGeom>
        </p:spPr>
      </p:pic>
      <p:sp>
        <p:nvSpPr>
          <p:cNvPr id="14348" name="Rectangle 7"/>
          <p:cNvSpPr txBox="1">
            <a:spLocks noGrp="1" noChangeArrowheads="1"/>
          </p:cNvSpPr>
          <p:nvPr/>
        </p:nvSpPr>
        <p:spPr bwMode="black">
          <a:xfrm>
            <a:off x="13877925" y="7855286"/>
            <a:ext cx="586739" cy="220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1529" tIns="65765" rIns="131529" bIns="65765"/>
          <a:lstStyle>
            <a:lvl1pPr>
              <a:spcBef>
                <a:spcPct val="50000"/>
              </a:spcBef>
              <a:buClr>
                <a:schemeClr val="tx1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Clr>
                <a:schemeClr val="tx1"/>
              </a:buClr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bg1"/>
              </a:buClr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1"/>
              </a:buClr>
              <a:buChar char="»"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fld id="{653F1719-70E2-4512-A948-5286D59F879A}" type="slidenum">
              <a:rPr lang="en-US" altLang="en-US" sz="1100"/>
              <a:pPr eaLnBrk="1" hangingPunct="1">
                <a:spcBef>
                  <a:spcPct val="0"/>
                </a:spcBef>
                <a:buClrTx/>
                <a:buFontTx/>
                <a:buNone/>
              </a:pPr>
              <a:t>34</a:t>
            </a:fld>
            <a:endParaRPr lang="en-US" altLang="en-US" sz="1100" dirty="0"/>
          </a:p>
        </p:txBody>
      </p:sp>
      <p:sp>
        <p:nvSpPr>
          <p:cNvPr id="9" name="Rectangle 8"/>
          <p:cNvSpPr/>
          <p:nvPr/>
        </p:nvSpPr>
        <p:spPr>
          <a:xfrm>
            <a:off x="736600" y="7836456"/>
            <a:ext cx="10126384" cy="301175"/>
          </a:xfrm>
          <a:prstGeom prst="rect">
            <a:avLst/>
          </a:prstGeom>
        </p:spPr>
        <p:txBody>
          <a:bodyPr wrap="square" lIns="130622" tIns="65311" rIns="130622" bIns="65311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100" i="1" dirty="0">
                <a:solidFill>
                  <a:srgbClr val="FFFFFF"/>
                </a:solidFill>
                <a:latin typeface="Arial"/>
                <a:ea typeface="ＭＳ Ｐゴシック"/>
              </a:rPr>
              <a:t>Source</a:t>
            </a:r>
            <a:r>
              <a:rPr lang="en-US" sz="1100" i="1" dirty="0">
                <a:solidFill>
                  <a:srgbClr val="CCFFCC"/>
                </a:solidFill>
                <a:latin typeface="Arial"/>
                <a:ea typeface="ＭＳ Ｐゴシック"/>
              </a:rPr>
              <a:t>: </a:t>
            </a:r>
            <a:r>
              <a:rPr lang="en-US" sz="1100" i="1" dirty="0">
                <a:solidFill>
                  <a:srgbClr val="CCFFCC"/>
                </a:solidFill>
                <a:latin typeface="Arial"/>
                <a:ea typeface="ＭＳ Ｐゴシック"/>
                <a:hlinkClick r:id="rId4"/>
              </a:rPr>
              <a:t>IBM X-Force Threat Intelligence Quarterly – 1Q </a:t>
            </a:r>
            <a:r>
              <a:rPr lang="en-US" sz="1100" i="1" dirty="0" smtClean="0">
                <a:solidFill>
                  <a:srgbClr val="CCFFCC"/>
                </a:solidFill>
                <a:latin typeface="Arial"/>
                <a:ea typeface="ＭＳ Ｐゴシック"/>
                <a:hlinkClick r:id="rId4"/>
              </a:rPr>
              <a:t>2015 and</a:t>
            </a:r>
            <a:r>
              <a:rPr lang="en-US" sz="1100" i="1" dirty="0" smtClean="0">
                <a:solidFill>
                  <a:srgbClr val="CCFFCC"/>
                </a:solidFill>
                <a:latin typeface="Arial"/>
                <a:ea typeface="ＭＳ Ｐゴシック"/>
              </a:rPr>
              <a:t> </a:t>
            </a:r>
            <a:r>
              <a:rPr lang="en-US" altLang="en-US" sz="1100" dirty="0">
                <a:solidFill>
                  <a:srgbClr val="CCFFCC"/>
                </a:solidFill>
                <a:hlinkClick r:id="rId5"/>
              </a:rPr>
              <a:t>2014 IBM Chief Information Security Officer Assessment</a:t>
            </a:r>
            <a:endParaRPr lang="en-US" sz="1100" dirty="0">
              <a:solidFill>
                <a:srgbClr val="CCFFCC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736600" y="304363"/>
            <a:ext cx="12834996" cy="1626766"/>
          </a:xfrm>
        </p:spPr>
        <p:txBody>
          <a:bodyPr/>
          <a:lstStyle/>
          <a:p>
            <a:r>
              <a:rPr lang="en-US" sz="3600" dirty="0"/>
              <a:t>83% of CISOs say that the challenge posed by external threats has increased in the last three </a:t>
            </a:r>
            <a:r>
              <a:rPr lang="en-US" sz="3600" dirty="0" smtClean="0"/>
              <a:t>years</a:t>
            </a:r>
            <a:endParaRPr lang="en-US" sz="3600" dirty="0"/>
          </a:p>
        </p:txBody>
      </p:sp>
      <p:grpSp>
        <p:nvGrpSpPr>
          <p:cNvPr id="18" name="Group 17"/>
          <p:cNvGrpSpPr/>
          <p:nvPr/>
        </p:nvGrpSpPr>
        <p:grpSpPr>
          <a:xfrm>
            <a:off x="4550097" y="1954561"/>
            <a:ext cx="4507547" cy="4718110"/>
            <a:chOff x="2803550" y="2132923"/>
            <a:chExt cx="2854300" cy="3427635"/>
          </a:xfrm>
        </p:grpSpPr>
        <p:cxnSp>
          <p:nvCxnSpPr>
            <p:cNvPr id="7" name="Straight Connector 6"/>
            <p:cNvCxnSpPr/>
            <p:nvPr/>
          </p:nvCxnSpPr>
          <p:spPr bwMode="auto">
            <a:xfrm>
              <a:off x="2803550" y="2132923"/>
              <a:ext cx="3150" cy="3408585"/>
            </a:xfrm>
            <a:prstGeom prst="line">
              <a:avLst/>
            </a:prstGeom>
            <a:noFill/>
            <a:ln w="38100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33" name="Straight Connector 32"/>
            <p:cNvCxnSpPr/>
            <p:nvPr/>
          </p:nvCxnSpPr>
          <p:spPr bwMode="auto">
            <a:xfrm>
              <a:off x="5657137" y="2132923"/>
              <a:ext cx="713" cy="3427635"/>
            </a:xfrm>
            <a:prstGeom prst="line">
              <a:avLst/>
            </a:prstGeom>
            <a:noFill/>
            <a:ln w="38100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</p:grpSp>
      <p:sp>
        <p:nvSpPr>
          <p:cNvPr id="34" name="Rectangle 33"/>
          <p:cNvSpPr/>
          <p:nvPr/>
        </p:nvSpPr>
        <p:spPr>
          <a:xfrm>
            <a:off x="408963" y="2127379"/>
            <a:ext cx="4039933" cy="2029084"/>
          </a:xfrm>
          <a:prstGeom prst="rect">
            <a:avLst/>
          </a:prstGeom>
        </p:spPr>
        <p:txBody>
          <a:bodyPr wrap="square" lIns="130622" tIns="65311" rIns="130622" bIns="65311">
            <a:spAutoFit/>
          </a:bodyPr>
          <a:lstStyle/>
          <a:p>
            <a:pPr algn="ctr">
              <a:spcBef>
                <a:spcPts val="1714"/>
              </a:spcBef>
            </a:pPr>
            <a:r>
              <a:rPr lang="en-US" sz="2300" b="1" spc="-43" dirty="0">
                <a:solidFill>
                  <a:srgbClr val="000000"/>
                </a:solidFill>
                <a:latin typeface="Arial"/>
                <a:ea typeface="ＭＳ Ｐゴシック"/>
                <a:cs typeface="Arial" pitchFamily="34" charset="0"/>
              </a:rPr>
              <a:t>Near Daily Leaks </a:t>
            </a:r>
            <a:br>
              <a:rPr lang="en-US" sz="2300" b="1" spc="-43" dirty="0">
                <a:solidFill>
                  <a:srgbClr val="000000"/>
                </a:solidFill>
                <a:latin typeface="Arial"/>
                <a:ea typeface="ＭＳ Ｐゴシック"/>
                <a:cs typeface="Arial" pitchFamily="34" charset="0"/>
              </a:rPr>
            </a:br>
            <a:r>
              <a:rPr lang="en-US" sz="2300" b="1" spc="-43" dirty="0">
                <a:solidFill>
                  <a:srgbClr val="000000"/>
                </a:solidFill>
                <a:latin typeface="Arial"/>
                <a:ea typeface="ＭＳ Ｐゴシック"/>
                <a:cs typeface="Arial" pitchFamily="34" charset="0"/>
              </a:rPr>
              <a:t>of Sensitive Data</a:t>
            </a:r>
            <a:endParaRPr lang="en-US" sz="4000" b="1" spc="-43" dirty="0">
              <a:solidFill>
                <a:srgbClr val="000000"/>
              </a:solidFill>
              <a:latin typeface="Arial"/>
              <a:ea typeface="ＭＳ Ｐゴシック"/>
              <a:cs typeface="Arial" pitchFamily="34" charset="0"/>
            </a:endParaRPr>
          </a:p>
          <a:p>
            <a:pPr algn="ctr">
              <a:spcBef>
                <a:spcPts val="1714"/>
              </a:spcBef>
            </a:pPr>
            <a:r>
              <a:rPr lang="en-US" sz="2300" b="1" spc="-43" dirty="0">
                <a:solidFill>
                  <a:srgbClr val="C00000"/>
                </a:solidFill>
                <a:latin typeface="Arial"/>
                <a:ea typeface="ＭＳ Ｐゴシック"/>
                <a:cs typeface="Arial" pitchFamily="34" charset="0"/>
              </a:rPr>
              <a:t>40% increase </a:t>
            </a:r>
            <a:br>
              <a:rPr lang="en-US" sz="2300" b="1" spc="-43" dirty="0">
                <a:solidFill>
                  <a:srgbClr val="C00000"/>
                </a:solidFill>
                <a:latin typeface="Arial"/>
                <a:ea typeface="ＭＳ Ｐゴシック"/>
                <a:cs typeface="Arial" pitchFamily="34" charset="0"/>
              </a:rPr>
            </a:br>
            <a:r>
              <a:rPr lang="en-US" sz="2000" spc="-43" dirty="0">
                <a:solidFill>
                  <a:srgbClr val="000000"/>
                </a:solidFill>
                <a:latin typeface="Arial"/>
                <a:ea typeface="ＭＳ Ｐゴシック"/>
                <a:cs typeface="Arial" pitchFamily="34" charset="0"/>
              </a:rPr>
              <a:t>in reported data </a:t>
            </a:r>
            <a:br>
              <a:rPr lang="en-US" sz="2000" spc="-43" dirty="0">
                <a:solidFill>
                  <a:srgbClr val="000000"/>
                </a:solidFill>
                <a:latin typeface="Arial"/>
                <a:ea typeface="ＭＳ Ｐゴシック"/>
                <a:cs typeface="Arial" pitchFamily="34" charset="0"/>
              </a:rPr>
            </a:br>
            <a:r>
              <a:rPr lang="en-US" sz="2000" spc="-43" dirty="0">
                <a:solidFill>
                  <a:srgbClr val="000000"/>
                </a:solidFill>
                <a:latin typeface="Arial"/>
                <a:ea typeface="ＭＳ Ｐゴシック"/>
                <a:cs typeface="Arial" pitchFamily="34" charset="0"/>
              </a:rPr>
              <a:t>breaches and incidents </a:t>
            </a:r>
          </a:p>
        </p:txBody>
      </p:sp>
      <p:sp>
        <p:nvSpPr>
          <p:cNvPr id="37" name="Rectangle 36"/>
          <p:cNvSpPr/>
          <p:nvPr/>
        </p:nvSpPr>
        <p:spPr>
          <a:xfrm>
            <a:off x="4886890" y="2127379"/>
            <a:ext cx="3807661" cy="2029084"/>
          </a:xfrm>
          <a:prstGeom prst="rect">
            <a:avLst/>
          </a:prstGeom>
        </p:spPr>
        <p:txBody>
          <a:bodyPr wrap="square" lIns="130622" tIns="65311" rIns="130622" bIns="65311">
            <a:spAutoFit/>
          </a:bodyPr>
          <a:lstStyle/>
          <a:p>
            <a:pPr algn="ctr">
              <a:spcBef>
                <a:spcPts val="1714"/>
              </a:spcBef>
            </a:pPr>
            <a:r>
              <a:rPr lang="en-US" sz="2300" b="1" spc="-43" dirty="0">
                <a:solidFill>
                  <a:srgbClr val="000000"/>
                </a:solidFill>
                <a:latin typeface="Arial"/>
                <a:ea typeface="ＭＳ Ｐゴシック"/>
                <a:cs typeface="Arial" pitchFamily="34" charset="0"/>
              </a:rPr>
              <a:t>Relentless Use </a:t>
            </a:r>
            <a:br>
              <a:rPr lang="en-US" sz="2300" b="1" spc="-43" dirty="0">
                <a:solidFill>
                  <a:srgbClr val="000000"/>
                </a:solidFill>
                <a:latin typeface="Arial"/>
                <a:ea typeface="ＭＳ Ｐゴシック"/>
                <a:cs typeface="Arial" pitchFamily="34" charset="0"/>
              </a:rPr>
            </a:br>
            <a:r>
              <a:rPr lang="en-US" sz="2300" b="1" spc="-43" dirty="0">
                <a:solidFill>
                  <a:srgbClr val="000000"/>
                </a:solidFill>
                <a:latin typeface="Arial"/>
                <a:ea typeface="ＭＳ Ｐゴシック"/>
                <a:cs typeface="Arial" pitchFamily="34" charset="0"/>
              </a:rPr>
              <a:t>of Multiple Methods</a:t>
            </a:r>
            <a:endParaRPr lang="en-US" sz="4000" b="1" spc="-43" dirty="0">
              <a:solidFill>
                <a:srgbClr val="000000"/>
              </a:solidFill>
              <a:latin typeface="Arial"/>
              <a:ea typeface="ＭＳ Ｐゴシック"/>
              <a:cs typeface="Arial" pitchFamily="34" charset="0"/>
            </a:endParaRPr>
          </a:p>
          <a:p>
            <a:pPr algn="ctr">
              <a:spcBef>
                <a:spcPts val="1714"/>
              </a:spcBef>
            </a:pPr>
            <a:r>
              <a:rPr lang="en-US" sz="2300" b="1" spc="-43" dirty="0">
                <a:solidFill>
                  <a:srgbClr val="C00000"/>
                </a:solidFill>
                <a:latin typeface="Arial"/>
                <a:ea typeface="ＭＳ Ｐゴシック"/>
                <a:cs typeface="Arial" pitchFamily="34" charset="0"/>
              </a:rPr>
              <a:t>800,000,000+ records </a:t>
            </a:r>
            <a:r>
              <a:rPr lang="en-US" sz="2300" spc="-43" dirty="0">
                <a:solidFill>
                  <a:srgbClr val="C00000"/>
                </a:solidFill>
                <a:latin typeface="Arial"/>
                <a:ea typeface="ＭＳ Ｐゴシック"/>
                <a:cs typeface="Arial" pitchFamily="34" charset="0"/>
              </a:rPr>
              <a:t/>
            </a:r>
            <a:br>
              <a:rPr lang="en-US" sz="2300" spc="-43" dirty="0">
                <a:solidFill>
                  <a:srgbClr val="C00000"/>
                </a:solidFill>
                <a:latin typeface="Arial"/>
                <a:ea typeface="ＭＳ Ｐゴシック"/>
                <a:cs typeface="Arial" pitchFamily="34" charset="0"/>
              </a:rPr>
            </a:br>
            <a:r>
              <a:rPr lang="en-US" sz="2000" spc="-43" dirty="0">
                <a:solidFill>
                  <a:srgbClr val="000000"/>
                </a:solidFill>
                <a:latin typeface="Arial"/>
                <a:ea typeface="ＭＳ Ｐゴシック"/>
                <a:cs typeface="Arial" pitchFamily="34" charset="0"/>
              </a:rPr>
              <a:t>were leaked, while the future </a:t>
            </a:r>
            <a:br>
              <a:rPr lang="en-US" sz="2000" spc="-43" dirty="0">
                <a:solidFill>
                  <a:srgbClr val="000000"/>
                </a:solidFill>
                <a:latin typeface="Arial"/>
                <a:ea typeface="ＭＳ Ｐゴシック"/>
                <a:cs typeface="Arial" pitchFamily="34" charset="0"/>
              </a:rPr>
            </a:br>
            <a:r>
              <a:rPr lang="en-US" sz="2000" spc="-43" dirty="0">
                <a:solidFill>
                  <a:srgbClr val="000000"/>
                </a:solidFill>
                <a:latin typeface="Arial"/>
                <a:ea typeface="ＭＳ Ｐゴシック"/>
                <a:cs typeface="Arial" pitchFamily="34" charset="0"/>
              </a:rPr>
              <a:t>shows no sign of change</a:t>
            </a:r>
          </a:p>
        </p:txBody>
      </p:sp>
      <p:sp>
        <p:nvSpPr>
          <p:cNvPr id="39" name="Rectangle 38"/>
          <p:cNvSpPr/>
          <p:nvPr/>
        </p:nvSpPr>
        <p:spPr>
          <a:xfrm>
            <a:off x="9132544" y="2127379"/>
            <a:ext cx="5325850" cy="2029084"/>
          </a:xfrm>
          <a:prstGeom prst="rect">
            <a:avLst/>
          </a:prstGeom>
        </p:spPr>
        <p:txBody>
          <a:bodyPr wrap="square" lIns="130622" tIns="65311" rIns="130622" bIns="65311">
            <a:spAutoFit/>
          </a:bodyPr>
          <a:lstStyle/>
          <a:p>
            <a:pPr algn="ctr">
              <a:spcBef>
                <a:spcPts val="1714"/>
              </a:spcBef>
            </a:pPr>
            <a:r>
              <a:rPr lang="en-US" sz="2300" b="1" spc="-43" dirty="0">
                <a:solidFill>
                  <a:srgbClr val="000000"/>
                </a:solidFill>
                <a:latin typeface="Arial"/>
                <a:ea typeface="ＭＳ Ｐゴシック"/>
                <a:cs typeface="Arial" pitchFamily="34" charset="0"/>
              </a:rPr>
              <a:t>“Insane” Amounts of Records Breached</a:t>
            </a:r>
            <a:endParaRPr lang="en-US" sz="4000" b="1" spc="-43" dirty="0">
              <a:solidFill>
                <a:srgbClr val="000000"/>
              </a:solidFill>
              <a:latin typeface="Arial"/>
              <a:ea typeface="ＭＳ Ｐゴシック"/>
              <a:cs typeface="Arial" pitchFamily="34" charset="0"/>
            </a:endParaRPr>
          </a:p>
          <a:p>
            <a:pPr algn="ctr">
              <a:spcBef>
                <a:spcPts val="1714"/>
              </a:spcBef>
            </a:pPr>
            <a:r>
              <a:rPr lang="en-US" sz="2300" b="1" spc="-43" dirty="0">
                <a:solidFill>
                  <a:srgbClr val="C00000"/>
                </a:solidFill>
                <a:latin typeface="Arial"/>
                <a:ea typeface="ＭＳ Ｐゴシック"/>
                <a:cs typeface="Arial" pitchFamily="34" charset="0"/>
              </a:rPr>
              <a:t>42% of CISOs</a:t>
            </a:r>
          </a:p>
          <a:p>
            <a:pPr algn="ctr">
              <a:spcBef>
                <a:spcPts val="0"/>
              </a:spcBef>
            </a:pPr>
            <a:r>
              <a:rPr lang="en-US" sz="2000" spc="-43" dirty="0">
                <a:latin typeface="Arial"/>
                <a:ea typeface="ＭＳ Ｐゴシック"/>
                <a:cs typeface="Arial" pitchFamily="34" charset="0"/>
              </a:rPr>
              <a:t>claim the risk from external threats increased dramatically from prior years.</a:t>
            </a:r>
            <a:endParaRPr lang="en-US" sz="1700" spc="-43" dirty="0">
              <a:latin typeface="Arial"/>
              <a:ea typeface="ＭＳ Ｐゴシック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69552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9847" y="398820"/>
            <a:ext cx="13768591" cy="789901"/>
          </a:xfrm>
        </p:spPr>
        <p:txBody>
          <a:bodyPr/>
          <a:lstStyle/>
          <a:p>
            <a:r>
              <a:rPr lang="en-US" dirty="0" smtClean="0"/>
              <a:t>2014:  25</a:t>
            </a:r>
            <a:r>
              <a:rPr lang="en-US" dirty="0"/>
              <a:t>% more records leaked than </a:t>
            </a:r>
            <a:r>
              <a:rPr lang="en-US" dirty="0" smtClean="0"/>
              <a:t>2013… </a:t>
            </a:r>
            <a:r>
              <a:rPr lang="en-US" i="1" dirty="0" smtClean="0"/>
              <a:t>insane</a:t>
            </a:r>
            <a:r>
              <a:rPr lang="en-US" i="1" dirty="0"/>
              <a:t>!   </a:t>
            </a:r>
          </a:p>
        </p:txBody>
      </p:sp>
      <p:grpSp>
        <p:nvGrpSpPr>
          <p:cNvPr id="9" name="Group 15"/>
          <p:cNvGrpSpPr>
            <a:grpSpLocks/>
          </p:cNvGrpSpPr>
          <p:nvPr/>
        </p:nvGrpSpPr>
        <p:grpSpPr bwMode="auto">
          <a:xfrm>
            <a:off x="-16933" y="4762500"/>
            <a:ext cx="14630400" cy="3467100"/>
            <a:chOff x="-16933" y="4762500"/>
            <a:chExt cx="14630399" cy="3467101"/>
          </a:xfrm>
        </p:grpSpPr>
        <p:sp>
          <p:nvSpPr>
            <p:cNvPr id="13" name="Text Box 40"/>
            <p:cNvSpPr txBox="1">
              <a:spLocks noChangeArrowheads="1"/>
            </p:cNvSpPr>
            <p:nvPr/>
          </p:nvSpPr>
          <p:spPr bwMode="auto">
            <a:xfrm>
              <a:off x="13760450" y="7864475"/>
              <a:ext cx="654050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fld id="{D9445864-82E0-4CD0-8997-DA2E783B9D3F}" type="slidenum">
                <a:rPr lang="en-US" altLang="en-US" sz="1100">
                  <a:solidFill>
                    <a:srgbClr val="FFFFFF"/>
                  </a:solidFill>
                </a:rPr>
                <a:pPr eaLnBrk="1" hangingPunct="1">
                  <a:spcBef>
                    <a:spcPct val="50000"/>
                  </a:spcBef>
                </a:pPr>
                <a:t>35</a:t>
              </a:fld>
              <a:endParaRPr lang="en-US" altLang="en-US" sz="1100">
                <a:solidFill>
                  <a:srgbClr val="FFFFFF"/>
                </a:solidFill>
              </a:endParaRPr>
            </a:p>
          </p:txBody>
        </p:sp>
        <p:pic>
          <p:nvPicPr>
            <p:cNvPr id="10" name="Picture 16" descr="fundo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6933" y="4762500"/>
              <a:ext cx="14630399" cy="34671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" name="Rectangle 5"/>
          <p:cNvSpPr/>
          <p:nvPr/>
        </p:nvSpPr>
        <p:spPr>
          <a:xfrm>
            <a:off x="409352" y="1899643"/>
            <a:ext cx="6570625" cy="5751405"/>
          </a:xfrm>
          <a:prstGeom prst="rect">
            <a:avLst/>
          </a:prstGeom>
          <a:gradFill>
            <a:gsLst>
              <a:gs pos="0">
                <a:srgbClr val="00BCEA"/>
              </a:gs>
              <a:gs pos="43000">
                <a:srgbClr val="00C6FE"/>
              </a:gs>
              <a:gs pos="100000">
                <a:schemeClr val="tx1"/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14699"/>
          <a:stretch/>
        </p:blipFill>
        <p:spPr>
          <a:xfrm>
            <a:off x="466739" y="1966159"/>
            <a:ext cx="6464864" cy="5621917"/>
          </a:xfrm>
          <a:prstGeom prst="rect">
            <a:avLst/>
          </a:prstGeom>
        </p:spPr>
      </p:pic>
      <p:grpSp>
        <p:nvGrpSpPr>
          <p:cNvPr id="3" name="Group 2"/>
          <p:cNvGrpSpPr/>
          <p:nvPr/>
        </p:nvGrpSpPr>
        <p:grpSpPr>
          <a:xfrm>
            <a:off x="7173776" y="1916438"/>
            <a:ext cx="6896666" cy="4418733"/>
            <a:chOff x="817685" y="1022156"/>
            <a:chExt cx="7508630" cy="5868423"/>
          </a:xfrm>
        </p:grpSpPr>
        <p:sp>
          <p:nvSpPr>
            <p:cNvPr id="38" name="Rectangle 37"/>
            <p:cNvSpPr/>
            <p:nvPr/>
          </p:nvSpPr>
          <p:spPr bwMode="auto">
            <a:xfrm>
              <a:off x="817685" y="1022156"/>
              <a:ext cx="7508630" cy="5051322"/>
            </a:xfrm>
            <a:prstGeom prst="rect">
              <a:avLst/>
            </a:prstGeom>
            <a:solidFill>
              <a:schemeClr val="bg1">
                <a:alpha val="40000"/>
              </a:schemeClr>
            </a:solidFill>
            <a:ln w="12700">
              <a:solidFill>
                <a:schemeClr val="bg1">
                  <a:lumMod val="85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2000" kern="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pic>
          <p:nvPicPr>
            <p:cNvPr id="4" name="Picture 2"/>
            <p:cNvPicPr>
              <a:picLocks noChangeAspect="1" noChangeArrowheads="1"/>
            </p:cNvPicPr>
            <p:nvPr/>
          </p:nvPicPr>
          <p:blipFill rotWithShape="1"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19386" t="27507" r="18085" b="2899"/>
            <a:stretch/>
          </p:blipFill>
          <p:spPr bwMode="auto">
            <a:xfrm>
              <a:off x="904960" y="1039330"/>
              <a:ext cx="7334082" cy="44031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5" name="TextBox 4"/>
            <p:cNvSpPr txBox="1"/>
            <p:nvPr/>
          </p:nvSpPr>
          <p:spPr>
            <a:xfrm>
              <a:off x="4752700" y="6236576"/>
              <a:ext cx="3500584" cy="6540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>
                <a:spcBef>
                  <a:spcPts val="857"/>
                </a:spcBef>
                <a:spcAft>
                  <a:spcPts val="0"/>
                </a:spcAft>
                <a:buClr>
                  <a:srgbClr val="000000"/>
                </a:buClr>
                <a:defRPr/>
              </a:pPr>
              <a:r>
                <a:rPr lang="en-US" sz="13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Source: IBM X-Force</a:t>
              </a:r>
              <a:r>
                <a:rPr lang="en-US" sz="1300" baseline="300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®</a:t>
              </a:r>
              <a:r>
                <a:rPr lang="en-US" sz="13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 Threat Intelligence Quarterly, 1Q 2015</a:t>
              </a:r>
            </a:p>
          </p:txBody>
        </p:sp>
      </p:grpSp>
      <p:sp>
        <p:nvSpPr>
          <p:cNvPr id="18" name="Text Box 40"/>
          <p:cNvSpPr txBox="1">
            <a:spLocks noChangeArrowheads="1"/>
          </p:cNvSpPr>
          <p:nvPr/>
        </p:nvSpPr>
        <p:spPr bwMode="auto">
          <a:xfrm>
            <a:off x="13834292" y="7754492"/>
            <a:ext cx="654050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30651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30651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fld id="{D9445864-82E0-4CD0-8997-DA2E783B9D3F}" type="slidenum">
              <a:rPr lang="en-US" altLang="en-US" sz="1100">
                <a:solidFill>
                  <a:srgbClr val="FFFFFF"/>
                </a:solidFill>
              </a:rPr>
              <a:pPr eaLnBrk="1" hangingPunct="1">
                <a:spcBef>
                  <a:spcPct val="50000"/>
                </a:spcBef>
              </a:pPr>
              <a:t>35</a:t>
            </a:fld>
            <a:endParaRPr lang="en-US" altLang="en-US" sz="11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57773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pg5_4columns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807"/>
            <a:ext cx="14630400" cy="8221986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0" y="378040"/>
            <a:ext cx="14630400" cy="1725411"/>
          </a:xfrm>
          <a:prstGeom prst="rect">
            <a:avLst/>
          </a:prstGeom>
        </p:spPr>
        <p:txBody>
          <a:bodyPr wrap="square" lIns="130622" tIns="65311" rIns="130622" bIns="65311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5700" b="1" cap="all" spc="114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ＭＳ Ｐゴシック" charset="0"/>
                <a:cs typeface="HelvNeue Bold for IBM"/>
              </a:rPr>
              <a:t>PARADIGM SHIFT</a:t>
            </a:r>
            <a:br>
              <a:rPr lang="en-US" sz="5700" b="1" cap="all" spc="114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ＭＳ Ｐゴシック" charset="0"/>
                <a:cs typeface="HelvNeue Bold for IBM"/>
              </a:rPr>
            </a:br>
            <a:r>
              <a:rPr lang="en-US" sz="5700" b="1" cap="all" spc="114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ＭＳ Ｐゴシック" charset="0"/>
              </a:rPr>
              <a:t>in crime</a:t>
            </a:r>
            <a:endParaRPr lang="en-US" sz="29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587454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roup 15"/>
          <p:cNvGrpSpPr>
            <a:grpSpLocks/>
          </p:cNvGrpSpPr>
          <p:nvPr/>
        </p:nvGrpSpPr>
        <p:grpSpPr bwMode="auto">
          <a:xfrm>
            <a:off x="-16933" y="4762500"/>
            <a:ext cx="14630400" cy="3467100"/>
            <a:chOff x="-16933" y="4762500"/>
            <a:chExt cx="14630399" cy="3467101"/>
          </a:xfrm>
        </p:grpSpPr>
        <p:pic>
          <p:nvPicPr>
            <p:cNvPr id="59" name="Picture 16" descr="fundo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6933" y="4762500"/>
              <a:ext cx="14630399" cy="34671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2" name="Text Box 40"/>
            <p:cNvSpPr txBox="1">
              <a:spLocks noChangeArrowheads="1"/>
            </p:cNvSpPr>
            <p:nvPr/>
          </p:nvSpPr>
          <p:spPr bwMode="auto">
            <a:xfrm>
              <a:off x="13760450" y="7864475"/>
              <a:ext cx="654050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fld id="{D9445864-82E0-4CD0-8997-DA2E783B9D3F}" type="slidenum">
                <a:rPr lang="en-US" altLang="en-US" sz="1100">
                  <a:solidFill>
                    <a:srgbClr val="FFFFFF"/>
                  </a:solidFill>
                </a:rPr>
                <a:pPr eaLnBrk="1" hangingPunct="1">
                  <a:spcBef>
                    <a:spcPct val="50000"/>
                  </a:spcBef>
                </a:pPr>
                <a:t>37</a:t>
              </a:fld>
              <a:endParaRPr lang="en-US" altLang="en-US" sz="11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031" name="Group 1030"/>
          <p:cNvGrpSpPr/>
          <p:nvPr/>
        </p:nvGrpSpPr>
        <p:grpSpPr>
          <a:xfrm>
            <a:off x="1321085" y="2512670"/>
            <a:ext cx="5246608" cy="4992937"/>
            <a:chOff x="825678" y="1570416"/>
            <a:chExt cx="3279130" cy="3120586"/>
          </a:xfrm>
        </p:grpSpPr>
        <p:grpSp>
          <p:nvGrpSpPr>
            <p:cNvPr id="1029" name="Group 1028"/>
            <p:cNvGrpSpPr/>
            <p:nvPr/>
          </p:nvGrpSpPr>
          <p:grpSpPr>
            <a:xfrm>
              <a:off x="1448022" y="2776742"/>
              <a:ext cx="1986692" cy="1914260"/>
              <a:chOff x="1844037" y="3297084"/>
              <a:chExt cx="1317996" cy="1269944"/>
            </a:xfrm>
          </p:grpSpPr>
          <p:pic>
            <p:nvPicPr>
              <p:cNvPr id="18" name="Picture 17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1844037" y="3297084"/>
                <a:ext cx="1317996" cy="1269944"/>
              </a:xfrm>
              <a:prstGeom prst="rect">
                <a:avLst/>
              </a:prstGeom>
            </p:spPr>
          </p:pic>
          <p:grpSp>
            <p:nvGrpSpPr>
              <p:cNvPr id="95" name="Group 94"/>
              <p:cNvGrpSpPr/>
              <p:nvPr/>
            </p:nvGrpSpPr>
            <p:grpSpPr>
              <a:xfrm>
                <a:off x="2112898" y="3555932"/>
                <a:ext cx="811953" cy="811953"/>
                <a:chOff x="2472497" y="3221295"/>
                <a:chExt cx="1039310" cy="1039310"/>
              </a:xfrm>
            </p:grpSpPr>
            <p:sp>
              <p:nvSpPr>
                <p:cNvPr id="19" name="Oval 18"/>
                <p:cNvSpPr/>
                <p:nvPr/>
              </p:nvSpPr>
              <p:spPr>
                <a:xfrm>
                  <a:off x="2472497" y="3221295"/>
                  <a:ext cx="1039310" cy="1039310"/>
                </a:xfrm>
                <a:prstGeom prst="ellipse">
                  <a:avLst/>
                </a:prstGeom>
                <a:solidFill>
                  <a:schemeClr val="bg1"/>
                </a:solidFill>
                <a:ln w="57150">
                  <a:solidFill>
                    <a:srgbClr val="C00000"/>
                  </a:solidFill>
                </a:ln>
                <a:effectLst>
                  <a:outerShdw blurRad="127000" sx="102000" sy="102000" algn="ctr" rotWithShape="0">
                    <a:prstClr val="black"/>
                  </a:outerShdw>
                </a:effectLst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pic>
              <p:nvPicPr>
                <p:cNvPr id="93" name="Picture 92"/>
                <p:cNvPicPr>
                  <a:picLocks noChangeAspect="1" noChangeArrowheads="1"/>
                </p:cNvPicPr>
                <p:nvPr/>
              </p:nvPicPr>
              <p:blipFill>
                <a:blip r:embed="rId5"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  <a:lum bright="-10000"/>
                  <a:extLst>
                    <a:ext uri="{28A0092B-C50C-407E-A947-70E740481C1C}">
                      <a14:useLocalDpi xmlns:a14="http://schemas.microsoft.com/office/drawing/2010/main" xmlns="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557592" y="3306298"/>
                  <a:ext cx="869119" cy="869119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sp>
          <p:nvSpPr>
            <p:cNvPr id="31" name="TextBox 19"/>
            <p:cNvSpPr txBox="1">
              <a:spLocks noChangeArrowheads="1"/>
            </p:cNvSpPr>
            <p:nvPr/>
          </p:nvSpPr>
          <p:spPr bwMode="auto">
            <a:xfrm>
              <a:off x="825678" y="1570416"/>
              <a:ext cx="3279130" cy="8614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18" tIns="45709" rIns="91418" bIns="45709">
              <a:spAutoFit/>
            </a:bodyPr>
            <a:lstStyle>
              <a:lvl1pPr eaLnBrk="0" hangingPunct="0">
                <a:spcBef>
                  <a:spcPct val="20000"/>
                </a:spcBef>
                <a:buClr>
                  <a:schemeClr val="tx1"/>
                </a:buClr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tx1"/>
                </a:buClr>
                <a:buFont typeface="Arial" pitchFamily="34" charset="0"/>
                <a:buChar char="–"/>
                <a:defRPr sz="1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chemeClr val="tx1"/>
                </a:buClr>
                <a:buChar char="•"/>
                <a:defRPr sz="1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chemeClr val="bg1"/>
                </a:buClr>
                <a:buChar char="–"/>
                <a:defRPr sz="1600">
                  <a:solidFill>
                    <a:schemeClr val="bg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chemeClr val="bg1"/>
                </a:buClr>
                <a:buChar char="»"/>
                <a:defRPr sz="1600">
                  <a:solidFill>
                    <a:schemeClr val="bg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00">
                  <a:solidFill>
                    <a:schemeClr val="bg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00">
                  <a:solidFill>
                    <a:schemeClr val="bg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00">
                  <a:solidFill>
                    <a:schemeClr val="bg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00">
                  <a:solidFill>
                    <a:schemeClr val="bg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defTabSz="1306220" eaLnBrk="1" fontAlgn="auto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None/>
              </a:pPr>
              <a:r>
                <a:rPr lang="en-US" altLang="en-US" sz="4600" spc="-43" dirty="0">
                  <a:solidFill>
                    <a:schemeClr val="accent3"/>
                  </a:solidFill>
                  <a:latin typeface="Arial"/>
                </a:rPr>
                <a:t>Attacks are</a:t>
              </a:r>
              <a:br>
                <a:rPr lang="en-US" altLang="en-US" sz="4600" spc="-43" dirty="0">
                  <a:solidFill>
                    <a:schemeClr val="accent3"/>
                  </a:solidFill>
                  <a:latin typeface="Arial"/>
                </a:rPr>
              </a:br>
              <a:r>
                <a:rPr lang="en-US" altLang="en-US" sz="4600" b="1" spc="-43" dirty="0">
                  <a:latin typeface="Arial"/>
                </a:rPr>
                <a:t>More Targeted</a:t>
              </a:r>
              <a:endParaRPr lang="en-US" altLang="en-US" sz="3400" b="1" spc="-43" dirty="0">
                <a:latin typeface="Arial"/>
              </a:endParaRPr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10558" y="664367"/>
            <a:ext cx="13609320" cy="746760"/>
          </a:xfrm>
        </p:spPr>
        <p:txBody>
          <a:bodyPr/>
          <a:lstStyle/>
          <a:p>
            <a:r>
              <a:rPr lang="en-US" spc="-43" dirty="0"/>
              <a:t>Sophistication is </a:t>
            </a:r>
            <a:r>
              <a:rPr lang="en-US" b="1" spc="-43" dirty="0">
                <a:solidFill>
                  <a:schemeClr val="tx2"/>
                </a:solidFill>
              </a:rPr>
              <a:t>INCREASING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7247474" y="2455048"/>
            <a:ext cx="6093152" cy="5040167"/>
            <a:chOff x="4529671" y="1534405"/>
            <a:chExt cx="3808220" cy="3150104"/>
          </a:xfrm>
        </p:grpSpPr>
        <p:sp>
          <p:nvSpPr>
            <p:cNvPr id="21" name="TextBox 19"/>
            <p:cNvSpPr txBox="1">
              <a:spLocks noChangeArrowheads="1"/>
            </p:cNvSpPr>
            <p:nvPr/>
          </p:nvSpPr>
          <p:spPr bwMode="auto">
            <a:xfrm>
              <a:off x="4529671" y="1534405"/>
              <a:ext cx="3808220" cy="8614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18" tIns="45709" rIns="91418" bIns="45709">
              <a:spAutoFit/>
            </a:bodyPr>
            <a:lstStyle>
              <a:lvl1pPr eaLnBrk="0" hangingPunct="0">
                <a:spcBef>
                  <a:spcPct val="20000"/>
                </a:spcBef>
                <a:buClr>
                  <a:schemeClr val="tx1"/>
                </a:buClr>
                <a:buFont typeface="Wingdings" pitchFamily="2" charset="2"/>
                <a:buChar char="§"/>
                <a:defRPr sz="1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buClr>
                  <a:schemeClr val="tx1"/>
                </a:buClr>
                <a:buFont typeface="Arial" pitchFamily="34" charset="0"/>
                <a:buChar char="–"/>
                <a:defRPr sz="1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buClr>
                  <a:schemeClr val="tx1"/>
                </a:buClr>
                <a:buChar char="•"/>
                <a:defRPr sz="14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buClr>
                  <a:schemeClr val="bg1"/>
                </a:buClr>
                <a:buChar char="–"/>
                <a:defRPr sz="1600">
                  <a:solidFill>
                    <a:schemeClr val="bg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buClr>
                  <a:schemeClr val="bg1"/>
                </a:buClr>
                <a:buChar char="»"/>
                <a:defRPr sz="1600">
                  <a:solidFill>
                    <a:schemeClr val="bg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00">
                  <a:solidFill>
                    <a:schemeClr val="bg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00">
                  <a:solidFill>
                    <a:schemeClr val="bg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00">
                  <a:solidFill>
                    <a:schemeClr val="bg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bg1"/>
                </a:buClr>
                <a:buChar char="»"/>
                <a:defRPr sz="1600">
                  <a:solidFill>
                    <a:schemeClr val="bg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algn="ctr" defTabSz="1306220" eaLnBrk="1" fontAlgn="auto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None/>
              </a:pPr>
              <a:r>
                <a:rPr lang="en-US" altLang="en-US" sz="4600" spc="-43" dirty="0">
                  <a:solidFill>
                    <a:schemeClr val="accent3"/>
                  </a:solidFill>
                  <a:latin typeface="Arial"/>
                </a:rPr>
                <a:t>Attackers are</a:t>
              </a:r>
              <a:br>
                <a:rPr lang="en-US" altLang="en-US" sz="4600" spc="-43" dirty="0">
                  <a:solidFill>
                    <a:schemeClr val="accent3"/>
                  </a:solidFill>
                  <a:latin typeface="Arial"/>
                </a:rPr>
              </a:br>
              <a:r>
                <a:rPr lang="en-US" altLang="en-US" sz="4600" b="1" spc="-43" dirty="0">
                  <a:latin typeface="Arial"/>
                </a:rPr>
                <a:t>More Organized</a:t>
              </a:r>
              <a:endParaRPr lang="en-US" altLang="en-US" sz="3400" b="1" spc="-43" dirty="0">
                <a:latin typeface="Arial"/>
              </a:endParaRPr>
            </a:p>
          </p:txBody>
        </p:sp>
        <p:grpSp>
          <p:nvGrpSpPr>
            <p:cNvPr id="1030" name="Group 1029"/>
            <p:cNvGrpSpPr/>
            <p:nvPr/>
          </p:nvGrpSpPr>
          <p:grpSpPr>
            <a:xfrm>
              <a:off x="5041639" y="2793470"/>
              <a:ext cx="2784284" cy="1891039"/>
              <a:chOff x="5507049" y="2429473"/>
              <a:chExt cx="2784284" cy="1891039"/>
            </a:xfrm>
          </p:grpSpPr>
          <p:cxnSp>
            <p:nvCxnSpPr>
              <p:cNvPr id="34" name="Straight Connector 33"/>
              <p:cNvCxnSpPr>
                <a:stCxn id="39" idx="0"/>
                <a:endCxn id="39" idx="0"/>
              </p:cNvCxnSpPr>
              <p:nvPr/>
            </p:nvCxnSpPr>
            <p:spPr>
              <a:xfrm>
                <a:off x="6852013" y="2429473"/>
                <a:ext cx="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39" name="Picture 3"/>
              <p:cNvPicPr>
                <a:picLocks noChangeAspect="1" noChangeArrowheads="1"/>
              </p:cNvPicPr>
              <p:nvPr/>
            </p:nvPicPr>
            <p:blipFill>
              <a:blip r:embed="rId6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50083" y="2429473"/>
                <a:ext cx="403859" cy="51749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cxnSp>
            <p:nvCxnSpPr>
              <p:cNvPr id="42" name="Straight Connector 41"/>
              <p:cNvCxnSpPr/>
              <p:nvPr/>
            </p:nvCxnSpPr>
            <p:spPr>
              <a:xfrm flipV="1">
                <a:off x="6852013" y="2953789"/>
                <a:ext cx="0" cy="151188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4" name="Group 13"/>
              <p:cNvGrpSpPr/>
              <p:nvPr/>
            </p:nvGrpSpPr>
            <p:grpSpPr>
              <a:xfrm>
                <a:off x="5899441" y="3452404"/>
                <a:ext cx="1946744" cy="269463"/>
                <a:chOff x="3626537" y="2744762"/>
                <a:chExt cx="1946744" cy="269463"/>
              </a:xfrm>
            </p:grpSpPr>
            <p:cxnSp>
              <p:nvCxnSpPr>
                <p:cNvPr id="61" name="Straight Connector 60"/>
                <p:cNvCxnSpPr/>
                <p:nvPr/>
              </p:nvCxnSpPr>
              <p:spPr>
                <a:xfrm flipV="1">
                  <a:off x="3626537" y="2744762"/>
                  <a:ext cx="1" cy="269463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7" name="Straight Connector 66"/>
                <p:cNvCxnSpPr/>
                <p:nvPr/>
              </p:nvCxnSpPr>
              <p:spPr>
                <a:xfrm flipV="1">
                  <a:off x="4578910" y="2744762"/>
                  <a:ext cx="1" cy="269463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3" name="Straight Connector 72"/>
                <p:cNvCxnSpPr/>
                <p:nvPr/>
              </p:nvCxnSpPr>
              <p:spPr>
                <a:xfrm flipV="1">
                  <a:off x="5573280" y="2744762"/>
                  <a:ext cx="1" cy="269463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5" name="Group 14"/>
              <p:cNvGrpSpPr/>
              <p:nvPr/>
            </p:nvGrpSpPr>
            <p:grpSpPr>
              <a:xfrm>
                <a:off x="5507049" y="3799948"/>
                <a:ext cx="2784284" cy="520564"/>
                <a:chOff x="3234145" y="3208314"/>
                <a:chExt cx="2784284" cy="520564"/>
              </a:xfrm>
            </p:grpSpPr>
            <p:pic>
              <p:nvPicPr>
                <p:cNvPr id="35" name="Picture 2"/>
                <p:cNvPicPr>
                  <a:picLocks noChangeAspect="1" noChangeArrowheads="1"/>
                </p:cNvPicPr>
                <p:nvPr/>
              </p:nvPicPr>
              <p:blipFill>
                <a:blip r:embed="rId7" cstate="print"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xmlns="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234145" y="3208314"/>
                  <a:ext cx="403859" cy="52056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66" name="Picture 2"/>
                <p:cNvPicPr>
                  <a:picLocks noChangeAspect="1" noChangeArrowheads="1"/>
                </p:cNvPicPr>
                <p:nvPr/>
              </p:nvPicPr>
              <p:blipFill>
                <a:blip r:embed="rId7" cstate="print"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xmlns="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710230" y="3208314"/>
                  <a:ext cx="403859" cy="52056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78" name="Picture 2"/>
                <p:cNvPicPr>
                  <a:picLocks noChangeAspect="1" noChangeArrowheads="1"/>
                </p:cNvPicPr>
                <p:nvPr/>
              </p:nvPicPr>
              <p:blipFill>
                <a:blip r:embed="rId7" cstate="print"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xmlns="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186315" y="3208314"/>
                  <a:ext cx="403859" cy="52056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79" name="Picture 2"/>
                <p:cNvPicPr>
                  <a:picLocks noChangeAspect="1" noChangeArrowheads="1"/>
                </p:cNvPicPr>
                <p:nvPr/>
              </p:nvPicPr>
              <p:blipFill>
                <a:blip r:embed="rId7" cstate="print"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xmlns="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662400" y="3208314"/>
                  <a:ext cx="403859" cy="52056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80" name="Picture 2"/>
                <p:cNvPicPr>
                  <a:picLocks noChangeAspect="1" noChangeArrowheads="1"/>
                </p:cNvPicPr>
                <p:nvPr/>
              </p:nvPicPr>
              <p:blipFill>
                <a:blip r:embed="rId7" cstate="print"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xmlns="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138485" y="3208314"/>
                  <a:ext cx="403859" cy="52056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81" name="Picture 2"/>
                <p:cNvPicPr>
                  <a:picLocks noChangeAspect="1" noChangeArrowheads="1"/>
                </p:cNvPicPr>
                <p:nvPr/>
              </p:nvPicPr>
              <p:blipFill>
                <a:blip r:embed="rId7" cstate="print"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xmlns="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614570" y="3208314"/>
                  <a:ext cx="403859" cy="52056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sp>
            <p:nvSpPr>
              <p:cNvPr id="13" name="Freeform 12"/>
              <p:cNvSpPr/>
              <p:nvPr/>
            </p:nvSpPr>
            <p:spPr>
              <a:xfrm>
                <a:off x="5899441" y="3024963"/>
                <a:ext cx="1946744" cy="100781"/>
              </a:xfrm>
              <a:custGeom>
                <a:avLst/>
                <a:gdLst>
                  <a:gd name="connsiteX0" fmla="*/ 0 w 1978925"/>
                  <a:gd name="connsiteY0" fmla="*/ 177421 h 197893"/>
                  <a:gd name="connsiteX1" fmla="*/ 0 w 1978925"/>
                  <a:gd name="connsiteY1" fmla="*/ 0 h 197893"/>
                  <a:gd name="connsiteX2" fmla="*/ 1978925 w 1978925"/>
                  <a:gd name="connsiteY2" fmla="*/ 0 h 197893"/>
                  <a:gd name="connsiteX3" fmla="*/ 1978925 w 1978925"/>
                  <a:gd name="connsiteY3" fmla="*/ 197893 h 197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78925" h="197893">
                    <a:moveTo>
                      <a:pt x="0" y="177421"/>
                    </a:moveTo>
                    <a:lnTo>
                      <a:pt x="0" y="0"/>
                    </a:lnTo>
                    <a:lnTo>
                      <a:pt x="1978925" y="0"/>
                    </a:lnTo>
                    <a:lnTo>
                      <a:pt x="1978925" y="197893"/>
                    </a:lnTo>
                  </a:path>
                </a:pathLst>
              </a:custGeom>
              <a:ln>
                <a:solidFill>
                  <a:schemeClr val="tx1"/>
                </a:solidFill>
                <a:miter lim="800000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90" name="Freeform 89"/>
              <p:cNvSpPr/>
              <p:nvPr/>
            </p:nvSpPr>
            <p:spPr>
              <a:xfrm>
                <a:off x="5708978" y="3713509"/>
                <a:ext cx="477037" cy="101223"/>
              </a:xfrm>
              <a:custGeom>
                <a:avLst/>
                <a:gdLst>
                  <a:gd name="connsiteX0" fmla="*/ 0 w 1978925"/>
                  <a:gd name="connsiteY0" fmla="*/ 177421 h 197893"/>
                  <a:gd name="connsiteX1" fmla="*/ 0 w 1978925"/>
                  <a:gd name="connsiteY1" fmla="*/ 0 h 197893"/>
                  <a:gd name="connsiteX2" fmla="*/ 1978925 w 1978925"/>
                  <a:gd name="connsiteY2" fmla="*/ 0 h 197893"/>
                  <a:gd name="connsiteX3" fmla="*/ 1978925 w 1978925"/>
                  <a:gd name="connsiteY3" fmla="*/ 197893 h 197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78925" h="197893">
                    <a:moveTo>
                      <a:pt x="0" y="177421"/>
                    </a:moveTo>
                    <a:lnTo>
                      <a:pt x="0" y="0"/>
                    </a:lnTo>
                    <a:lnTo>
                      <a:pt x="1978925" y="0"/>
                    </a:lnTo>
                    <a:lnTo>
                      <a:pt x="1978925" y="197893"/>
                    </a:lnTo>
                  </a:path>
                </a:pathLst>
              </a:custGeom>
              <a:ln>
                <a:solidFill>
                  <a:schemeClr val="tx1"/>
                </a:solidFill>
                <a:miter lim="800000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91" name="Freeform 90"/>
              <p:cNvSpPr/>
              <p:nvPr/>
            </p:nvSpPr>
            <p:spPr>
              <a:xfrm>
                <a:off x="6663731" y="3713509"/>
                <a:ext cx="477037" cy="101223"/>
              </a:xfrm>
              <a:custGeom>
                <a:avLst/>
                <a:gdLst>
                  <a:gd name="connsiteX0" fmla="*/ 0 w 1978925"/>
                  <a:gd name="connsiteY0" fmla="*/ 177421 h 197893"/>
                  <a:gd name="connsiteX1" fmla="*/ 0 w 1978925"/>
                  <a:gd name="connsiteY1" fmla="*/ 0 h 197893"/>
                  <a:gd name="connsiteX2" fmla="*/ 1978925 w 1978925"/>
                  <a:gd name="connsiteY2" fmla="*/ 0 h 197893"/>
                  <a:gd name="connsiteX3" fmla="*/ 1978925 w 1978925"/>
                  <a:gd name="connsiteY3" fmla="*/ 197893 h 197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78925" h="197893">
                    <a:moveTo>
                      <a:pt x="0" y="177421"/>
                    </a:moveTo>
                    <a:lnTo>
                      <a:pt x="0" y="0"/>
                    </a:lnTo>
                    <a:lnTo>
                      <a:pt x="1978925" y="0"/>
                    </a:lnTo>
                    <a:lnTo>
                      <a:pt x="1978925" y="197893"/>
                    </a:lnTo>
                  </a:path>
                </a:pathLst>
              </a:custGeom>
              <a:ln>
                <a:solidFill>
                  <a:schemeClr val="tx1"/>
                </a:solidFill>
                <a:miter lim="800000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92" name="Freeform 91"/>
              <p:cNvSpPr/>
              <p:nvPr/>
            </p:nvSpPr>
            <p:spPr>
              <a:xfrm>
                <a:off x="7606384" y="3713509"/>
                <a:ext cx="477037" cy="101223"/>
              </a:xfrm>
              <a:custGeom>
                <a:avLst/>
                <a:gdLst>
                  <a:gd name="connsiteX0" fmla="*/ 0 w 1978925"/>
                  <a:gd name="connsiteY0" fmla="*/ 177421 h 197893"/>
                  <a:gd name="connsiteX1" fmla="*/ 0 w 1978925"/>
                  <a:gd name="connsiteY1" fmla="*/ 0 h 197893"/>
                  <a:gd name="connsiteX2" fmla="*/ 1978925 w 1978925"/>
                  <a:gd name="connsiteY2" fmla="*/ 0 h 197893"/>
                  <a:gd name="connsiteX3" fmla="*/ 1978925 w 1978925"/>
                  <a:gd name="connsiteY3" fmla="*/ 197893 h 197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78925" h="197893">
                    <a:moveTo>
                      <a:pt x="0" y="177421"/>
                    </a:moveTo>
                    <a:lnTo>
                      <a:pt x="0" y="0"/>
                    </a:lnTo>
                    <a:lnTo>
                      <a:pt x="1978925" y="0"/>
                    </a:lnTo>
                    <a:lnTo>
                      <a:pt x="1978925" y="197893"/>
                    </a:lnTo>
                  </a:path>
                </a:pathLst>
              </a:custGeom>
              <a:ln>
                <a:solidFill>
                  <a:schemeClr val="tx1"/>
                </a:solidFill>
                <a:miter lim="800000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grpSp>
            <p:nvGrpSpPr>
              <p:cNvPr id="43" name="Group 42"/>
              <p:cNvGrpSpPr/>
              <p:nvPr/>
            </p:nvGrpSpPr>
            <p:grpSpPr>
              <a:xfrm>
                <a:off x="6650083" y="3098153"/>
                <a:ext cx="621129" cy="575911"/>
                <a:chOff x="4377179" y="2530952"/>
                <a:chExt cx="621129" cy="575911"/>
              </a:xfrm>
            </p:grpSpPr>
            <p:pic>
              <p:nvPicPr>
                <p:cNvPr id="44" name="Picture 3"/>
                <p:cNvPicPr>
                  <a:picLocks noChangeAspect="1" noChangeArrowheads="1"/>
                </p:cNvPicPr>
                <p:nvPr/>
              </p:nvPicPr>
              <p:blipFill>
                <a:blip r:embed="rId6" cstate="print"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xmlns="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377179" y="2530952"/>
                  <a:ext cx="403859" cy="517492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grpSp>
              <p:nvGrpSpPr>
                <p:cNvPr id="45" name="Group 44"/>
                <p:cNvGrpSpPr/>
                <p:nvPr/>
              </p:nvGrpSpPr>
              <p:grpSpPr>
                <a:xfrm>
                  <a:off x="4732584" y="2723540"/>
                  <a:ext cx="265724" cy="383323"/>
                  <a:chOff x="7586890" y="2583546"/>
                  <a:chExt cx="265724" cy="383323"/>
                </a:xfrm>
              </p:grpSpPr>
              <p:pic>
                <p:nvPicPr>
                  <p:cNvPr id="46" name="Picture 45"/>
                  <p:cNvPicPr>
                    <a:picLocks noChangeAspect="1"/>
                  </p:cNvPicPr>
                  <p:nvPr/>
                </p:nvPicPr>
                <p:blipFill>
                  <a:blip r:embed="rId8" cstate="print">
                    <a:duotone>
                      <a:schemeClr val="accent3">
                        <a:shade val="45000"/>
                        <a:satMod val="135000"/>
                      </a:schemeClr>
                      <a:prstClr val="white"/>
                    </a:duotone>
                    <a:lum bright="-10000"/>
                    <a:extLst>
                      <a:ext uri="{28A0092B-C50C-407E-A947-70E740481C1C}">
                        <a14:useLocalDpi xmlns:a14="http://schemas.microsoft.com/office/drawing/2010/main" xmlns="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7586890" y="2583546"/>
                    <a:ext cx="265724" cy="383323"/>
                  </a:xfrm>
                  <a:prstGeom prst="rect">
                    <a:avLst/>
                  </a:prstGeom>
                </p:spPr>
              </p:pic>
              <p:pic>
                <p:nvPicPr>
                  <p:cNvPr id="47" name="Picture 5"/>
                  <p:cNvPicPr>
                    <a:picLocks noChangeAspect="1" noChangeArrowheads="1"/>
                  </p:cNvPicPr>
                  <p:nvPr/>
                </p:nvPicPr>
                <p:blipFill>
                  <a:blip r:embed="rId9" cstate="print">
                    <a:duotone>
                      <a:schemeClr val="accent3">
                        <a:shade val="45000"/>
                        <a:satMod val="135000"/>
                      </a:schemeClr>
                      <a:prstClr val="white"/>
                    </a:duotone>
                    <a:lum bright="90000"/>
                    <a:extLst>
                      <a:ext uri="{28A0092B-C50C-407E-A947-70E740481C1C}">
                        <a14:useLocalDpi xmlns:a14="http://schemas.microsoft.com/office/drawing/2010/main" xmlns="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7666211" y="2652377"/>
                    <a:ext cx="168140" cy="152698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 xmlns="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xmlns="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 xmlns="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</p:grpSp>
          <p:grpSp>
            <p:nvGrpSpPr>
              <p:cNvPr id="48" name="Group 47"/>
              <p:cNvGrpSpPr/>
              <p:nvPr/>
            </p:nvGrpSpPr>
            <p:grpSpPr>
              <a:xfrm>
                <a:off x="5697748" y="3098153"/>
                <a:ext cx="621129" cy="575911"/>
                <a:chOff x="4377179" y="2530952"/>
                <a:chExt cx="621129" cy="575911"/>
              </a:xfrm>
            </p:grpSpPr>
            <p:pic>
              <p:nvPicPr>
                <p:cNvPr id="49" name="Picture 3"/>
                <p:cNvPicPr>
                  <a:picLocks noChangeAspect="1" noChangeArrowheads="1"/>
                </p:cNvPicPr>
                <p:nvPr/>
              </p:nvPicPr>
              <p:blipFill>
                <a:blip r:embed="rId6" cstate="print"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xmlns="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377179" y="2530952"/>
                  <a:ext cx="403859" cy="517492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grpSp>
              <p:nvGrpSpPr>
                <p:cNvPr id="50" name="Group 49"/>
                <p:cNvGrpSpPr/>
                <p:nvPr/>
              </p:nvGrpSpPr>
              <p:grpSpPr>
                <a:xfrm>
                  <a:off x="4732584" y="2723540"/>
                  <a:ext cx="265724" cy="383323"/>
                  <a:chOff x="7586890" y="2583546"/>
                  <a:chExt cx="265724" cy="383323"/>
                </a:xfrm>
              </p:grpSpPr>
              <p:pic>
                <p:nvPicPr>
                  <p:cNvPr id="51" name="Picture 50"/>
                  <p:cNvPicPr>
                    <a:picLocks noChangeAspect="1"/>
                  </p:cNvPicPr>
                  <p:nvPr/>
                </p:nvPicPr>
                <p:blipFill>
                  <a:blip r:embed="rId8" cstate="print">
                    <a:duotone>
                      <a:schemeClr val="accent3">
                        <a:shade val="45000"/>
                        <a:satMod val="135000"/>
                      </a:schemeClr>
                      <a:prstClr val="white"/>
                    </a:duotone>
                    <a:lum bright="-10000"/>
                    <a:extLst>
                      <a:ext uri="{28A0092B-C50C-407E-A947-70E740481C1C}">
                        <a14:useLocalDpi xmlns:a14="http://schemas.microsoft.com/office/drawing/2010/main" xmlns="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7586890" y="2583546"/>
                    <a:ext cx="265724" cy="383323"/>
                  </a:xfrm>
                  <a:prstGeom prst="rect">
                    <a:avLst/>
                  </a:prstGeom>
                </p:spPr>
              </p:pic>
              <p:pic>
                <p:nvPicPr>
                  <p:cNvPr id="52" name="Picture 5"/>
                  <p:cNvPicPr>
                    <a:picLocks noChangeAspect="1" noChangeArrowheads="1"/>
                  </p:cNvPicPr>
                  <p:nvPr/>
                </p:nvPicPr>
                <p:blipFill>
                  <a:blip r:embed="rId9" cstate="print">
                    <a:duotone>
                      <a:schemeClr val="accent3">
                        <a:shade val="45000"/>
                        <a:satMod val="135000"/>
                      </a:schemeClr>
                      <a:prstClr val="white"/>
                    </a:duotone>
                    <a:lum bright="90000"/>
                    <a:extLst>
                      <a:ext uri="{28A0092B-C50C-407E-A947-70E740481C1C}">
                        <a14:useLocalDpi xmlns:a14="http://schemas.microsoft.com/office/drawing/2010/main" xmlns="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7666211" y="2652377"/>
                    <a:ext cx="168140" cy="152698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 xmlns="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xmlns="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 xmlns="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</p:grpSp>
          <p:grpSp>
            <p:nvGrpSpPr>
              <p:cNvPr id="53" name="Group 52"/>
              <p:cNvGrpSpPr/>
              <p:nvPr/>
            </p:nvGrpSpPr>
            <p:grpSpPr>
              <a:xfrm>
                <a:off x="7644256" y="3098153"/>
                <a:ext cx="621129" cy="575911"/>
                <a:chOff x="4377179" y="2530952"/>
                <a:chExt cx="621129" cy="575911"/>
              </a:xfrm>
            </p:grpSpPr>
            <p:pic>
              <p:nvPicPr>
                <p:cNvPr id="54" name="Picture 3"/>
                <p:cNvPicPr>
                  <a:picLocks noChangeAspect="1" noChangeArrowheads="1"/>
                </p:cNvPicPr>
                <p:nvPr/>
              </p:nvPicPr>
              <p:blipFill>
                <a:blip r:embed="rId6" cstate="print">
                  <a:duotone>
                    <a:schemeClr val="accent3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xmlns="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377179" y="2530952"/>
                  <a:ext cx="403859" cy="517492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grpSp>
              <p:nvGrpSpPr>
                <p:cNvPr id="55" name="Group 54"/>
                <p:cNvGrpSpPr/>
                <p:nvPr/>
              </p:nvGrpSpPr>
              <p:grpSpPr>
                <a:xfrm>
                  <a:off x="4732584" y="2723540"/>
                  <a:ext cx="265724" cy="383323"/>
                  <a:chOff x="7586890" y="2583546"/>
                  <a:chExt cx="265724" cy="383323"/>
                </a:xfrm>
              </p:grpSpPr>
              <p:pic>
                <p:nvPicPr>
                  <p:cNvPr id="56" name="Picture 55"/>
                  <p:cNvPicPr>
                    <a:picLocks noChangeAspect="1"/>
                  </p:cNvPicPr>
                  <p:nvPr/>
                </p:nvPicPr>
                <p:blipFill>
                  <a:blip r:embed="rId8" cstate="print">
                    <a:duotone>
                      <a:schemeClr val="accent3">
                        <a:shade val="45000"/>
                        <a:satMod val="135000"/>
                      </a:schemeClr>
                      <a:prstClr val="white"/>
                    </a:duotone>
                    <a:lum bright="-10000"/>
                    <a:extLst>
                      <a:ext uri="{28A0092B-C50C-407E-A947-70E740481C1C}">
                        <a14:useLocalDpi xmlns:a14="http://schemas.microsoft.com/office/drawing/2010/main" xmlns="" val="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7586890" y="2583546"/>
                    <a:ext cx="265724" cy="383323"/>
                  </a:xfrm>
                  <a:prstGeom prst="rect">
                    <a:avLst/>
                  </a:prstGeom>
                </p:spPr>
              </p:pic>
              <p:pic>
                <p:nvPicPr>
                  <p:cNvPr id="57" name="Picture 5"/>
                  <p:cNvPicPr>
                    <a:picLocks noChangeAspect="1" noChangeArrowheads="1"/>
                  </p:cNvPicPr>
                  <p:nvPr/>
                </p:nvPicPr>
                <p:blipFill>
                  <a:blip r:embed="rId9" cstate="print">
                    <a:duotone>
                      <a:schemeClr val="accent3">
                        <a:shade val="45000"/>
                        <a:satMod val="135000"/>
                      </a:schemeClr>
                      <a:prstClr val="white"/>
                    </a:duotone>
                    <a:lum bright="90000"/>
                    <a:extLst>
                      <a:ext uri="{28A0092B-C50C-407E-A947-70E740481C1C}">
                        <a14:useLocalDpi xmlns:a14="http://schemas.microsoft.com/office/drawing/2010/main" xmlns="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7666211" y="2652377"/>
                    <a:ext cx="168140" cy="152698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 xmlns="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xmlns="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 xmlns="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pic>
            </p:grpSp>
          </p:grpSp>
        </p:grpSp>
      </p:grpSp>
    </p:spTree>
    <p:extLst>
      <p:ext uri="{BB962C8B-B14F-4D97-AF65-F5344CB8AC3E}">
        <p14:creationId xmlns:p14="http://schemas.microsoft.com/office/powerpoint/2010/main" xmlns="" val="2084472765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10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5"/>
          <p:cNvGrpSpPr>
            <a:grpSpLocks/>
          </p:cNvGrpSpPr>
          <p:nvPr/>
        </p:nvGrpSpPr>
        <p:grpSpPr bwMode="auto">
          <a:xfrm>
            <a:off x="-16933" y="4762500"/>
            <a:ext cx="14630400" cy="3467100"/>
            <a:chOff x="-16933" y="4762500"/>
            <a:chExt cx="14630399" cy="3467101"/>
          </a:xfrm>
        </p:grpSpPr>
        <p:pic>
          <p:nvPicPr>
            <p:cNvPr id="6" name="Picture 16" descr="fundo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6933" y="4762500"/>
              <a:ext cx="14630399" cy="34671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Text Box 40"/>
            <p:cNvSpPr txBox="1">
              <a:spLocks noChangeArrowheads="1"/>
            </p:cNvSpPr>
            <p:nvPr/>
          </p:nvSpPr>
          <p:spPr bwMode="auto">
            <a:xfrm>
              <a:off x="13760450" y="7864475"/>
              <a:ext cx="654050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fld id="{D9445864-82E0-4CD0-8997-DA2E783B9D3F}" type="slidenum">
                <a:rPr lang="en-US" altLang="en-US" sz="1100">
                  <a:solidFill>
                    <a:srgbClr val="FFFFFF"/>
                  </a:solidFill>
                </a:rPr>
                <a:pPr eaLnBrk="1" hangingPunct="1">
                  <a:spcBef>
                    <a:spcPct val="50000"/>
                  </a:spcBef>
                </a:pPr>
                <a:t>38</a:t>
              </a:fld>
              <a:endParaRPr lang="en-US" altLang="en-US" sz="1100">
                <a:solidFill>
                  <a:srgbClr val="FFFFFF"/>
                </a:solidFill>
              </a:endParaRPr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636442" y="2346960"/>
            <a:ext cx="8803640" cy="3088476"/>
          </a:xfrm>
          <a:prstGeom prst="rect">
            <a:avLst/>
          </a:prstGeom>
          <a:noFill/>
          <a:effectLst>
            <a:outerShdw blurRad="38100" dist="38100" dir="5400000" algn="t" rotWithShape="0">
              <a:prstClr val="black">
                <a:alpha val="25000"/>
              </a:prstClr>
            </a:outerShdw>
          </a:effectLst>
        </p:spPr>
        <p:txBody>
          <a:bodyPr lIns="130622" tIns="65311" rIns="130622" bIns="65311">
            <a:spAutoFit/>
          </a:bodyPr>
          <a:lstStyle/>
          <a:p>
            <a:pPr algn="ctr"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600" b="1" spc="-429" dirty="0">
                <a:solidFill>
                  <a:schemeClr val="tx2"/>
                </a:solidFill>
                <a:latin typeface="+mn-lt"/>
              </a:rPr>
              <a:t>EVERYONE </a:t>
            </a:r>
            <a:r>
              <a:rPr lang="en-US" sz="8600" b="1" spc="-429" dirty="0">
                <a:latin typeface="+mn-lt"/>
              </a:rPr>
              <a:t/>
            </a:r>
            <a:br>
              <a:rPr lang="en-US" sz="8600" b="1" spc="-429" dirty="0">
                <a:latin typeface="+mn-lt"/>
              </a:rPr>
            </a:br>
            <a:r>
              <a:rPr lang="en-US" sz="6900" spc="-143" dirty="0">
                <a:latin typeface="+mn-lt"/>
              </a:rPr>
              <a:t>in this room</a:t>
            </a:r>
            <a:br>
              <a:rPr lang="en-US" sz="6900" spc="-143" dirty="0">
                <a:latin typeface="+mn-lt"/>
              </a:rPr>
            </a:br>
            <a:r>
              <a:rPr lang="en-US" sz="6900" spc="-143" dirty="0">
                <a:latin typeface="+mn-lt"/>
              </a:rPr>
              <a:t>can be a target</a:t>
            </a: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772384" y="2273304"/>
            <a:ext cx="3677920" cy="36779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1243422753"/>
      </p:ext>
    </p:extLst>
  </p:cSld>
  <p:clrMapOvr>
    <a:masterClrMapping/>
  </p:clrMapOvr>
  <p:transition spd="slow"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5"/>
          <p:cNvGrpSpPr>
            <a:grpSpLocks/>
          </p:cNvGrpSpPr>
          <p:nvPr/>
        </p:nvGrpSpPr>
        <p:grpSpPr bwMode="auto">
          <a:xfrm>
            <a:off x="-16933" y="4762500"/>
            <a:ext cx="14630400" cy="3467100"/>
            <a:chOff x="-16933" y="4762500"/>
            <a:chExt cx="14630399" cy="3467101"/>
          </a:xfrm>
        </p:grpSpPr>
        <p:pic>
          <p:nvPicPr>
            <p:cNvPr id="15" name="Picture 16" descr="fundo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6933" y="4762500"/>
              <a:ext cx="14630399" cy="34671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Text Box 40"/>
            <p:cNvSpPr txBox="1">
              <a:spLocks noChangeArrowheads="1"/>
            </p:cNvSpPr>
            <p:nvPr/>
          </p:nvSpPr>
          <p:spPr bwMode="auto">
            <a:xfrm>
              <a:off x="13760450" y="7864475"/>
              <a:ext cx="654050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fld id="{D9445864-82E0-4CD0-8997-DA2E783B9D3F}" type="slidenum">
                <a:rPr lang="en-US" altLang="en-US" sz="1100">
                  <a:solidFill>
                    <a:srgbClr val="FFFFFF"/>
                  </a:solidFill>
                </a:rPr>
                <a:pPr eaLnBrk="1" hangingPunct="1">
                  <a:spcBef>
                    <a:spcPct val="50000"/>
                  </a:spcBef>
                </a:pPr>
                <a:t>39</a:t>
              </a:fld>
              <a:endParaRPr lang="en-US" altLang="en-US" sz="1100">
                <a:solidFill>
                  <a:srgbClr val="FFFFFF"/>
                </a:solidFill>
              </a:endParaRPr>
            </a:p>
          </p:txBody>
        </p:sp>
      </p:grpSp>
      <p:pic>
        <p:nvPicPr>
          <p:cNvPr id="8" name="Picture 5" descr="riding-in-flip-flops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52934" y="2037912"/>
            <a:ext cx="6443406" cy="50234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>
              <a:rot lat="0" lon="10800000" rev="0"/>
            </a:camera>
            <a:lightRig rig="threePt" dir="t"/>
          </a:scene3d>
        </p:spPr>
      </p:pic>
      <p:pic>
        <p:nvPicPr>
          <p:cNvPr id="11" name="Picture 4" descr="f5659726-14b5-493c-a185-a97e2467167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631771" y="2008824"/>
            <a:ext cx="6557797" cy="5054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aixaDeTexto 11"/>
          <p:cNvSpPr txBox="1">
            <a:spLocks noChangeArrowheads="1"/>
          </p:cNvSpPr>
          <p:nvPr/>
        </p:nvSpPr>
        <p:spPr bwMode="auto">
          <a:xfrm>
            <a:off x="2088745" y="7105675"/>
            <a:ext cx="3431804" cy="6551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30622" tIns="65311" rIns="130622" bIns="65311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pt-BR" altLang="en-US" sz="3400" b="1" dirty="0" err="1">
                <a:latin typeface="Calibri" pitchFamily="34" charset="0"/>
              </a:rPr>
              <a:t>Compliance</a:t>
            </a:r>
            <a:endParaRPr lang="en-US" altLang="en-US" sz="3400" b="1" dirty="0">
              <a:latin typeface="Calibri" pitchFamily="34" charset="0"/>
            </a:endParaRPr>
          </a:p>
        </p:txBody>
      </p:sp>
      <p:sp>
        <p:nvSpPr>
          <p:cNvPr id="13" name="CaixaDeTexto 12"/>
          <p:cNvSpPr txBox="1">
            <a:spLocks noChangeArrowheads="1"/>
          </p:cNvSpPr>
          <p:nvPr/>
        </p:nvSpPr>
        <p:spPr bwMode="auto">
          <a:xfrm>
            <a:off x="9378808" y="7105675"/>
            <a:ext cx="3657481" cy="6551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30622" tIns="65311" rIns="130622" bIns="65311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pt-BR" altLang="en-US" sz="3400" b="1" dirty="0">
                <a:latin typeface="Calibri" pitchFamily="34" charset="0"/>
              </a:rPr>
              <a:t>Security</a:t>
            </a:r>
            <a:endParaRPr lang="en-US" altLang="en-US" sz="3400" b="1" dirty="0">
              <a:latin typeface="Calibri" pitchFamily="34" charset="0"/>
            </a:endParaRPr>
          </a:p>
        </p:txBody>
      </p:sp>
      <p:sp>
        <p:nvSpPr>
          <p:cNvPr id="10" name="Multiplicar 9"/>
          <p:cNvSpPr>
            <a:spLocks/>
          </p:cNvSpPr>
          <p:nvPr/>
        </p:nvSpPr>
        <p:spPr bwMode="auto">
          <a:xfrm>
            <a:off x="6404133" y="3334011"/>
            <a:ext cx="1755139" cy="1880398"/>
          </a:xfrm>
          <a:custGeom>
            <a:avLst/>
            <a:gdLst>
              <a:gd name="T0" fmla="*/ 263463 w 1096962"/>
              <a:gd name="T1" fmla="*/ 282146 h 1174750"/>
              <a:gd name="T2" fmla="*/ 833499 w 1096962"/>
              <a:gd name="T3" fmla="*/ 282146 h 1174750"/>
              <a:gd name="T4" fmla="*/ 833499 w 1096962"/>
              <a:gd name="T5" fmla="*/ 892604 h 1174750"/>
              <a:gd name="T6" fmla="*/ 263463 w 1096962"/>
              <a:gd name="T7" fmla="*/ 892604 h 1174750"/>
              <a:gd name="T8" fmla="*/ 11796480 60000 65536"/>
              <a:gd name="T9" fmla="*/ 17694720 60000 65536"/>
              <a:gd name="T10" fmla="*/ 0 60000 65536"/>
              <a:gd name="T11" fmla="*/ 5898240 60000 65536"/>
              <a:gd name="T12" fmla="*/ 169176 w 1096962"/>
              <a:gd name="T13" fmla="*/ 194102 h 1174750"/>
              <a:gd name="T14" fmla="*/ 927786 w 1096962"/>
              <a:gd name="T15" fmla="*/ 980648 h 117475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096962" h="1174750">
                <a:moveTo>
                  <a:pt x="169176" y="370189"/>
                </a:moveTo>
                <a:lnTo>
                  <a:pt x="357750" y="194102"/>
                </a:lnTo>
                <a:lnTo>
                  <a:pt x="548481" y="398358"/>
                </a:lnTo>
                <a:lnTo>
                  <a:pt x="739212" y="194102"/>
                </a:lnTo>
                <a:lnTo>
                  <a:pt x="927786" y="370189"/>
                </a:lnTo>
                <a:lnTo>
                  <a:pt x="724982" y="587375"/>
                </a:lnTo>
                <a:lnTo>
                  <a:pt x="927786" y="804561"/>
                </a:lnTo>
                <a:lnTo>
                  <a:pt x="739212" y="980648"/>
                </a:lnTo>
                <a:lnTo>
                  <a:pt x="548481" y="776392"/>
                </a:lnTo>
                <a:lnTo>
                  <a:pt x="357750" y="980648"/>
                </a:lnTo>
                <a:lnTo>
                  <a:pt x="169176" y="804561"/>
                </a:lnTo>
                <a:lnTo>
                  <a:pt x="371980" y="587375"/>
                </a:lnTo>
                <a:close/>
              </a:path>
            </a:pathLst>
          </a:custGeom>
          <a:solidFill>
            <a:srgbClr val="FF6600"/>
          </a:solidFill>
          <a:ln w="38100" cmpd="sng">
            <a:solidFill>
              <a:schemeClr val="tx1"/>
            </a:solidFill>
            <a:round/>
            <a:headEnd/>
            <a:tailEnd/>
          </a:ln>
        </p:spPr>
        <p:txBody>
          <a:bodyPr lIns="130622" tIns="65311" rIns="130622" bIns="65311"/>
          <a:lstStyle/>
          <a:p>
            <a:endParaRPr lang="en-US"/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736600" y="334640"/>
            <a:ext cx="10298571" cy="977267"/>
          </a:xfrm>
          <a:prstGeom prst="rect">
            <a:avLst/>
          </a:prstGeom>
          <a:noFill/>
          <a:ln/>
        </p:spPr>
        <p:txBody>
          <a:bodyPr lIns="130622" tIns="65311" rIns="130622" bIns="65311"/>
          <a:lstStyle>
            <a:lvl1pPr defTabSz="1300163">
              <a:defRPr sz="4600">
                <a:solidFill>
                  <a:srgbClr val="83D1F5"/>
                </a:solidFill>
                <a:latin typeface="+mj-lt"/>
                <a:cs typeface="MS PGothic" charset="0"/>
              </a:defRPr>
            </a:lvl1pPr>
            <a:lvl2pPr defTabSz="1300163">
              <a:defRPr sz="4000">
                <a:solidFill>
                  <a:srgbClr val="83D1F5"/>
                </a:solidFill>
                <a:cs typeface="MS PGothic" charset="0"/>
              </a:defRPr>
            </a:lvl2pPr>
            <a:lvl3pPr defTabSz="1300163">
              <a:defRPr sz="4000">
                <a:solidFill>
                  <a:srgbClr val="83D1F5"/>
                </a:solidFill>
                <a:cs typeface="MS PGothic" charset="0"/>
              </a:defRPr>
            </a:lvl3pPr>
            <a:lvl4pPr defTabSz="1300163">
              <a:defRPr sz="4000">
                <a:solidFill>
                  <a:srgbClr val="83D1F5"/>
                </a:solidFill>
                <a:cs typeface="MS PGothic" charset="0"/>
              </a:defRPr>
            </a:lvl4pPr>
            <a:lvl5pPr defTabSz="1300163">
              <a:defRPr sz="4000">
                <a:solidFill>
                  <a:srgbClr val="83D1F5"/>
                </a:solidFill>
                <a:cs typeface="MS PGothic" charset="0"/>
              </a:defRPr>
            </a:lvl5pPr>
            <a:lvl6pPr marL="456949" defTabSz="1304211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83D1F5"/>
                </a:solidFill>
              </a:defRPr>
            </a:lvl6pPr>
            <a:lvl7pPr marL="913897" defTabSz="1304211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83D1F5"/>
                </a:solidFill>
              </a:defRPr>
            </a:lvl7pPr>
            <a:lvl8pPr marL="1370846" defTabSz="1304211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83D1F5"/>
                </a:solidFill>
              </a:defRPr>
            </a:lvl8pPr>
            <a:lvl9pPr marL="1827794" defTabSz="1304211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83D1F5"/>
                </a:solidFill>
              </a:defRPr>
            </a:lvl9pPr>
          </a:lstStyle>
          <a:p>
            <a:r>
              <a:rPr lang="en-US" dirty="0"/>
              <a:t>Security is different from Compliance  </a:t>
            </a:r>
          </a:p>
        </p:txBody>
      </p:sp>
    </p:spTree>
    <p:extLst>
      <p:ext uri="{BB962C8B-B14F-4D97-AF65-F5344CB8AC3E}">
        <p14:creationId xmlns:p14="http://schemas.microsoft.com/office/powerpoint/2010/main" xmlns="" val="235444170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49" presetClass="entr" presetSubtype="0" decel="10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  <p:bldP spid="1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6193" name="Picture 12" descr="C:\Users\Jose Diaz\Desktop\cristina\5 Steps\Versao2\VRMJuly14MobileComp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6296" b="2255"/>
          <a:stretch>
            <a:fillRect/>
          </a:stretch>
        </p:blipFill>
        <p:spPr bwMode="auto">
          <a:xfrm>
            <a:off x="0" y="0"/>
            <a:ext cx="14630400" cy="8288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84138" y="46566"/>
            <a:ext cx="9517062" cy="2046659"/>
          </a:xfrm>
          <a:prstGeom prst="rect">
            <a:avLst/>
          </a:prstGeom>
          <a:noFill/>
        </p:spPr>
        <p:txBody>
          <a:bodyPr wrap="square" lIns="91393" tIns="45693" rIns="91393" bIns="45693">
            <a:spAutoFit/>
          </a:bodyPr>
          <a:lstStyle>
            <a:lvl1pPr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4800" dirty="0">
                <a:solidFill>
                  <a:srgbClr val="FFFF00"/>
                </a:solidFill>
                <a:latin typeface="Ebrima" charset="0"/>
                <a:ea typeface="ＭＳ Ｐゴシック" charset="0"/>
                <a:cs typeface="Ebrima" charset="0"/>
              </a:rPr>
              <a:t>Mobile drives </a:t>
            </a:r>
            <a:r>
              <a:rPr lang="en-US" sz="4800" dirty="0">
                <a:solidFill>
                  <a:srgbClr val="5DBEFF"/>
                </a:solidFill>
                <a:latin typeface="Ebrima" charset="0"/>
                <a:ea typeface="ＭＳ Ｐゴシック" charset="0"/>
                <a:cs typeface="Ebrima" charset="0"/>
              </a:rPr>
              <a:t>exponential data growth, creating new opportunities</a:t>
            </a:r>
          </a:p>
          <a:p>
            <a:pPr eaLnBrk="1" hangingPunct="1"/>
            <a:r>
              <a:rPr lang="en-US" altLang="en-US" sz="3100" dirty="0" smtClean="0">
                <a:effectLst>
                  <a:outerShdw blurRad="38100" dist="38100" dir="2700000" algn="tl">
                    <a:srgbClr val="000000"/>
                  </a:outerShdw>
                </a:effectLst>
                <a:latin typeface="Ebrima" pitchFamily="2" charset="0"/>
              </a:rPr>
              <a:t>By the year </a:t>
            </a:r>
            <a:r>
              <a:rPr lang="en-US" altLang="en-US" sz="3100" dirty="0">
                <a:effectLst>
                  <a:outerShdw blurRad="38100" dist="38100" dir="2700000" algn="tl">
                    <a:srgbClr val="000000"/>
                  </a:outerShdw>
                </a:effectLst>
                <a:latin typeface="Ebrima" pitchFamily="2" charset="0"/>
              </a:rPr>
              <a:t>2020 …</a:t>
            </a:r>
          </a:p>
        </p:txBody>
      </p:sp>
      <p:pic>
        <p:nvPicPr>
          <p:cNvPr id="11" name="Picture 12" descr="Single Eyebrow for jump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35063" y="3403600"/>
            <a:ext cx="2609850" cy="1257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2" descr="Single Eyebrow for jump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185730">
            <a:off x="5214938" y="2171700"/>
            <a:ext cx="2609850" cy="1257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2" descr="Single Eyebrow for jump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840788" y="833438"/>
            <a:ext cx="2609850" cy="1257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2"/>
          <p:cNvSpPr txBox="1">
            <a:spLocks noChangeArrowheads="1"/>
          </p:cNvSpPr>
          <p:nvPr/>
        </p:nvSpPr>
        <p:spPr bwMode="auto">
          <a:xfrm>
            <a:off x="93663" y="4635500"/>
            <a:ext cx="2297112" cy="1015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88" tIns="45691" rIns="91388" bIns="45691">
            <a:spAutoFit/>
          </a:bodyPr>
          <a:lstStyle>
            <a:lvl1pPr defTabSz="65246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65246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65246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65246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65246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65246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65246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65246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65246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2000" dirty="0">
                <a:solidFill>
                  <a:srgbClr val="FFFFFF"/>
                </a:solidFill>
                <a:latin typeface="Ebrima" charset="0"/>
                <a:ea typeface="ＭＳ Ｐゴシック" charset="0"/>
                <a:cs typeface="Ebrima" charset="0"/>
              </a:rPr>
              <a:t>There will be</a:t>
            </a:r>
          </a:p>
          <a:p>
            <a:pPr eaLnBrk="1" hangingPunct="1"/>
            <a:r>
              <a:rPr lang="en-US" sz="2000" dirty="0" smtClean="0">
                <a:solidFill>
                  <a:srgbClr val="FFFFFF"/>
                </a:solidFill>
                <a:latin typeface="Ebrima" charset="0"/>
                <a:ea typeface="ＭＳ Ｐゴシック" charset="0"/>
                <a:cs typeface="Ebrima" charset="0"/>
              </a:rPr>
              <a:t>over </a:t>
            </a:r>
            <a:r>
              <a:rPr lang="en-US" sz="2000" dirty="0">
                <a:solidFill>
                  <a:srgbClr val="FFFFFF"/>
                </a:solidFill>
                <a:latin typeface="Ebrima" charset="0"/>
                <a:ea typeface="ＭＳ Ｐゴシック" charset="0"/>
                <a:cs typeface="Ebrima" charset="0"/>
              </a:rPr>
              <a:t>200 billion</a:t>
            </a:r>
          </a:p>
          <a:p>
            <a:pPr eaLnBrk="1" hangingPunct="1"/>
            <a:r>
              <a:rPr lang="en-US" sz="2000" dirty="0" smtClean="0">
                <a:solidFill>
                  <a:srgbClr val="FFFFFF"/>
                </a:solidFill>
                <a:latin typeface="Ebrima" charset="0"/>
                <a:ea typeface="ＭＳ Ｐゴシック" charset="0"/>
                <a:cs typeface="Ebrima" charset="0"/>
              </a:rPr>
              <a:t>connected </a:t>
            </a:r>
            <a:r>
              <a:rPr lang="en-US" sz="2000" dirty="0">
                <a:solidFill>
                  <a:srgbClr val="FFFFFF"/>
                </a:solidFill>
                <a:latin typeface="Ebrima" charset="0"/>
                <a:ea typeface="ＭＳ Ｐゴシック" charset="0"/>
                <a:cs typeface="Ebrima" charset="0"/>
              </a:rPr>
              <a:t>devices</a:t>
            </a:r>
          </a:p>
        </p:txBody>
      </p:sp>
      <p:sp>
        <p:nvSpPr>
          <p:cNvPr id="13" name="TextBox 6"/>
          <p:cNvSpPr txBox="1">
            <a:spLocks noChangeArrowheads="1"/>
          </p:cNvSpPr>
          <p:nvPr/>
        </p:nvSpPr>
        <p:spPr bwMode="auto">
          <a:xfrm>
            <a:off x="3863979" y="3282952"/>
            <a:ext cx="2828925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88" tIns="45691" rIns="91388" bIns="45691">
            <a:spAutoFit/>
          </a:bodyPr>
          <a:lstStyle>
            <a:lvl1pPr defTabSz="65246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65246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65246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65246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65246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65246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65246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65246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65246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2000" dirty="0">
                <a:solidFill>
                  <a:srgbClr val="FFFFFF"/>
                </a:solidFill>
                <a:latin typeface="Ebrima" charset="0"/>
                <a:ea typeface="ＭＳ Ｐゴシック" charset="0"/>
                <a:cs typeface="Ebrima" charset="0"/>
              </a:rPr>
              <a:t>There will be</a:t>
            </a:r>
          </a:p>
          <a:p>
            <a:pPr eaLnBrk="1" hangingPunct="1"/>
            <a:r>
              <a:rPr lang="en-US" sz="2000" dirty="0" smtClean="0">
                <a:solidFill>
                  <a:srgbClr val="FFFFFF"/>
                </a:solidFill>
                <a:latin typeface="Ebrima" charset="0"/>
                <a:ea typeface="ＭＳ Ｐゴシック" charset="0"/>
                <a:cs typeface="Ebrima" charset="0"/>
              </a:rPr>
              <a:t>over </a:t>
            </a:r>
            <a:r>
              <a:rPr lang="en-US" sz="2000" dirty="0">
                <a:solidFill>
                  <a:srgbClr val="FFFFFF"/>
                </a:solidFill>
                <a:latin typeface="Ebrima" charset="0"/>
                <a:ea typeface="ＭＳ Ｐゴシック" charset="0"/>
                <a:cs typeface="Ebrima" charset="0"/>
              </a:rPr>
              <a:t>12 billion</a:t>
            </a:r>
          </a:p>
          <a:p>
            <a:pPr eaLnBrk="1" hangingPunct="1"/>
            <a:r>
              <a:rPr lang="en-US" sz="2000" dirty="0">
                <a:solidFill>
                  <a:srgbClr val="FFFFFF"/>
                </a:solidFill>
                <a:latin typeface="Ebrima" charset="0"/>
                <a:ea typeface="ＭＳ Ｐゴシック" charset="0"/>
                <a:cs typeface="Ebrima" charset="0"/>
              </a:rPr>
              <a:t>machine devices</a:t>
            </a:r>
          </a:p>
        </p:txBody>
      </p:sp>
      <p:sp>
        <p:nvSpPr>
          <p:cNvPr id="16" name="TextBox 7"/>
          <p:cNvSpPr txBox="1">
            <a:spLocks noChangeArrowheads="1"/>
          </p:cNvSpPr>
          <p:nvPr/>
        </p:nvSpPr>
        <p:spPr bwMode="auto">
          <a:xfrm>
            <a:off x="7921625" y="2094973"/>
            <a:ext cx="2661708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88" tIns="45691" rIns="91388" bIns="45691">
            <a:spAutoFit/>
          </a:bodyPr>
          <a:lstStyle>
            <a:lvl1pPr defTabSz="65246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65246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65246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65246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65246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65246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65246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65246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65246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2000" dirty="0">
                <a:solidFill>
                  <a:srgbClr val="FFFFFF"/>
                </a:solidFill>
                <a:latin typeface="Ebrima" charset="0"/>
                <a:ea typeface="ＭＳ Ｐゴシック" charset="0"/>
                <a:cs typeface="Ebrima" charset="0"/>
              </a:rPr>
              <a:t>Machine generated data will be</a:t>
            </a:r>
          </a:p>
          <a:p>
            <a:pPr eaLnBrk="1" hangingPunct="1"/>
            <a:r>
              <a:rPr lang="en-US" sz="2000" dirty="0" smtClean="0">
                <a:solidFill>
                  <a:srgbClr val="FFFFFF"/>
                </a:solidFill>
                <a:latin typeface="Ebrima" charset="0"/>
                <a:ea typeface="ＭＳ Ｐゴシック" charset="0"/>
                <a:cs typeface="Ebrima" charset="0"/>
              </a:rPr>
              <a:t>42% </a:t>
            </a:r>
            <a:r>
              <a:rPr lang="en-US" sz="2000" dirty="0">
                <a:solidFill>
                  <a:srgbClr val="FFFFFF"/>
                </a:solidFill>
                <a:latin typeface="Ebrima" charset="0"/>
                <a:ea typeface="ＭＳ Ｐゴシック" charset="0"/>
                <a:cs typeface="Ebrima" charset="0"/>
              </a:rPr>
              <a:t>of all data</a:t>
            </a:r>
          </a:p>
        </p:txBody>
      </p:sp>
      <p:sp>
        <p:nvSpPr>
          <p:cNvPr id="17" name="TextBox 8"/>
          <p:cNvSpPr txBox="1">
            <a:spLocks noChangeArrowheads="1"/>
          </p:cNvSpPr>
          <p:nvPr/>
        </p:nvSpPr>
        <p:spPr bwMode="auto">
          <a:xfrm>
            <a:off x="11450638" y="446088"/>
            <a:ext cx="2674937" cy="1015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88" tIns="45691" rIns="91388" bIns="45691">
            <a:spAutoFit/>
          </a:bodyPr>
          <a:lstStyle>
            <a:lvl1pPr defTabSz="65246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65246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65246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65246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652463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65246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65246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65246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652463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2000" dirty="0">
                <a:solidFill>
                  <a:srgbClr val="FFFFFF"/>
                </a:solidFill>
                <a:latin typeface="Ebrima" charset="0"/>
                <a:ea typeface="ＭＳ Ｐゴシック" charset="0"/>
                <a:cs typeface="Ebrima" charset="0"/>
              </a:rPr>
              <a:t>4xmore digital data than all the grains of sand on earth</a:t>
            </a:r>
          </a:p>
        </p:txBody>
      </p:sp>
    </p:spTree>
  </p:cSld>
  <p:clrMapOvr>
    <a:masterClrMapping/>
  </p:clrMapOvr>
  <p:transition advClick="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 nodeType="clickPar">
                      <p:stCondLst>
                        <p:cond delay="indefinite"/>
                      </p:stCondLst>
                      <p:childTnLst>
                        <p:par>
                          <p:cTn id="2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 nodeType="clickPar">
                      <p:stCondLst>
                        <p:cond delay="indefinite"/>
                      </p:stCondLst>
                      <p:childTnLst>
                        <p:par>
                          <p:cTn id="3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 nodeType="clickPar">
                      <p:stCondLst>
                        <p:cond delay="indefinite"/>
                      </p:stCondLst>
                      <p:childTnLst>
                        <p:par>
                          <p:cTn id="4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  <p:bldP spid="16" grpId="0"/>
      <p:bldP spid="17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5"/>
          <p:cNvGrpSpPr>
            <a:grpSpLocks/>
          </p:cNvGrpSpPr>
          <p:nvPr/>
        </p:nvGrpSpPr>
        <p:grpSpPr bwMode="auto">
          <a:xfrm>
            <a:off x="-16933" y="4762500"/>
            <a:ext cx="14630400" cy="3467100"/>
            <a:chOff x="-16933" y="4762500"/>
            <a:chExt cx="14630399" cy="3467101"/>
          </a:xfrm>
        </p:grpSpPr>
        <p:pic>
          <p:nvPicPr>
            <p:cNvPr id="11" name="Picture 16" descr="fundo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6933" y="4762500"/>
              <a:ext cx="14630399" cy="34671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" name="Text Box 40"/>
            <p:cNvSpPr txBox="1">
              <a:spLocks noChangeArrowheads="1"/>
            </p:cNvSpPr>
            <p:nvPr/>
          </p:nvSpPr>
          <p:spPr bwMode="auto">
            <a:xfrm>
              <a:off x="13760450" y="7864475"/>
              <a:ext cx="654050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fld id="{D9445864-82E0-4CD0-8997-DA2E783B9D3F}" type="slidenum">
                <a:rPr lang="en-US" altLang="en-US" sz="1100">
                  <a:solidFill>
                    <a:srgbClr val="FFFFFF"/>
                  </a:solidFill>
                </a:rPr>
                <a:pPr eaLnBrk="1" hangingPunct="1">
                  <a:spcBef>
                    <a:spcPct val="50000"/>
                  </a:spcBef>
                </a:pPr>
                <a:t>40</a:t>
              </a:fld>
              <a:endParaRPr lang="en-US" altLang="en-US" sz="1100">
                <a:solidFill>
                  <a:srgbClr val="FFFFFF"/>
                </a:solidFill>
              </a:endParaRPr>
            </a:p>
          </p:txBody>
        </p:sp>
      </p:grpSp>
      <p:sp>
        <p:nvSpPr>
          <p:cNvPr id="494594" name="Rectangle 2"/>
          <p:cNvSpPr>
            <a:spLocks noGrp="1" noChangeArrowheads="1"/>
          </p:cNvSpPr>
          <p:nvPr>
            <p:ph type="title"/>
          </p:nvPr>
        </p:nvSpPr>
        <p:spPr>
          <a:xfrm>
            <a:off x="736601" y="653453"/>
            <a:ext cx="12142246" cy="1172723"/>
          </a:xfrm>
          <a:noFill/>
          <a:ln/>
        </p:spPr>
        <p:txBody>
          <a:bodyPr/>
          <a:lstStyle/>
          <a:p>
            <a:r>
              <a:rPr lang="en-US" altLang="en-US" sz="4600" dirty="0"/>
              <a:t>Holistic View is mandatory for Security </a:t>
            </a:r>
          </a:p>
        </p:txBody>
      </p:sp>
      <p:grpSp>
        <p:nvGrpSpPr>
          <p:cNvPr id="494595" name="Group 3"/>
          <p:cNvGrpSpPr>
            <a:grpSpLocks/>
          </p:cNvGrpSpPr>
          <p:nvPr/>
        </p:nvGrpSpPr>
        <p:grpSpPr bwMode="auto">
          <a:xfrm>
            <a:off x="1997600" y="2253262"/>
            <a:ext cx="10671321" cy="4760594"/>
            <a:chOff x="1296" y="1392"/>
            <a:chExt cx="4464" cy="2289"/>
          </a:xfrm>
        </p:grpSpPr>
        <p:pic>
          <p:nvPicPr>
            <p:cNvPr id="494596" name="Picture 4" descr="in00048_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0" y="1584"/>
              <a:ext cx="709" cy="9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94597" name="Picture 5" descr="ag00595_"/>
            <p:cNvPicPr>
              <a:picLocks noChangeAspect="1" noChangeArrowheads="1" noCrop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76" y="1392"/>
              <a:ext cx="727" cy="7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94598" name="Picture 6" descr="bl00120_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76" y="1776"/>
              <a:ext cx="3984" cy="14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94599" name="Picture 7" descr="an00355_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52" y="2640"/>
              <a:ext cx="1252" cy="7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94600" name="Picture 8" descr="so01225_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88" y="3072"/>
              <a:ext cx="1680" cy="6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94601" name="Picture 9" descr="so01225_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6" y="3072"/>
              <a:ext cx="2187" cy="6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xmlns="" val="35627310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15"/>
          <p:cNvGrpSpPr>
            <a:grpSpLocks/>
          </p:cNvGrpSpPr>
          <p:nvPr/>
        </p:nvGrpSpPr>
        <p:grpSpPr bwMode="auto">
          <a:xfrm>
            <a:off x="-16933" y="4762500"/>
            <a:ext cx="14630400" cy="3467100"/>
            <a:chOff x="-16933" y="4762500"/>
            <a:chExt cx="14630399" cy="3467101"/>
          </a:xfrm>
        </p:grpSpPr>
        <p:pic>
          <p:nvPicPr>
            <p:cNvPr id="6" name="Picture 16" descr="fundo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6933" y="4762500"/>
              <a:ext cx="14630399" cy="34671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Text Box 40"/>
            <p:cNvSpPr txBox="1">
              <a:spLocks noChangeArrowheads="1"/>
            </p:cNvSpPr>
            <p:nvPr/>
          </p:nvSpPr>
          <p:spPr bwMode="auto">
            <a:xfrm>
              <a:off x="13760450" y="7864475"/>
              <a:ext cx="654050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fld id="{D9445864-82E0-4CD0-8997-DA2E783B9D3F}" type="slidenum">
                <a:rPr lang="en-US" altLang="en-US" sz="1100">
                  <a:solidFill>
                    <a:srgbClr val="FFFFFF"/>
                  </a:solidFill>
                </a:rPr>
                <a:pPr eaLnBrk="1" hangingPunct="1">
                  <a:spcBef>
                    <a:spcPct val="50000"/>
                  </a:spcBef>
                </a:pPr>
                <a:t>41</a:t>
              </a:fld>
              <a:endParaRPr lang="en-US" altLang="en-US" sz="1100">
                <a:solidFill>
                  <a:srgbClr val="FFFFFF"/>
                </a:solidFill>
              </a:endParaRPr>
            </a:p>
          </p:txBody>
        </p:sp>
      </p:grpSp>
      <p:sp>
        <p:nvSpPr>
          <p:cNvPr id="570370" name="Rectangle 2"/>
          <p:cNvSpPr>
            <a:spLocks noGrp="1" noChangeArrowheads="1"/>
          </p:cNvSpPr>
          <p:nvPr>
            <p:ph type="title"/>
          </p:nvPr>
        </p:nvSpPr>
        <p:spPr>
          <a:xfrm>
            <a:off x="2193707" y="276610"/>
            <a:ext cx="10380750" cy="1371600"/>
          </a:xfrm>
          <a:noFill/>
          <a:ln/>
        </p:spPr>
        <p:txBody>
          <a:bodyPr/>
          <a:lstStyle/>
          <a:p>
            <a:pPr algn="ctr"/>
            <a:r>
              <a:rPr lang="en-US" altLang="en-US" dirty="0" smtClean="0"/>
              <a:t>Security is as strong as its weakest link</a:t>
            </a:r>
            <a:endParaRPr lang="en-US" altLang="en-US" dirty="0"/>
          </a:p>
        </p:txBody>
      </p:sp>
      <p:pic>
        <p:nvPicPr>
          <p:cNvPr id="570378" name="Picture 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94560" y="1097280"/>
            <a:ext cx="10363200" cy="62807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70380" name="Picture 12" descr="j0316766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26840" y="2245987"/>
            <a:ext cx="6779261" cy="4135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8736477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03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5703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" name="Group 15"/>
          <p:cNvGrpSpPr>
            <a:grpSpLocks/>
          </p:cNvGrpSpPr>
          <p:nvPr/>
        </p:nvGrpSpPr>
        <p:grpSpPr bwMode="auto">
          <a:xfrm>
            <a:off x="-16933" y="4762500"/>
            <a:ext cx="14630400" cy="3467100"/>
            <a:chOff x="-16933" y="4762500"/>
            <a:chExt cx="14630399" cy="3467101"/>
          </a:xfrm>
        </p:grpSpPr>
        <p:pic>
          <p:nvPicPr>
            <p:cNvPr id="61" name="Picture 16" descr="fundo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6933" y="4762500"/>
              <a:ext cx="14630399" cy="34671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3" name="Text Box 40"/>
            <p:cNvSpPr txBox="1">
              <a:spLocks noChangeArrowheads="1"/>
            </p:cNvSpPr>
            <p:nvPr/>
          </p:nvSpPr>
          <p:spPr bwMode="auto">
            <a:xfrm>
              <a:off x="13760450" y="7864475"/>
              <a:ext cx="654050" cy="169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 defTabSz="1306513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defTabSz="1306513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fld id="{D9445864-82E0-4CD0-8997-DA2E783B9D3F}" type="slidenum">
                <a:rPr lang="en-US" altLang="en-US" sz="1100">
                  <a:solidFill>
                    <a:srgbClr val="FFFFFF"/>
                  </a:solidFill>
                </a:rPr>
                <a:pPr eaLnBrk="1" hangingPunct="1">
                  <a:spcBef>
                    <a:spcPct val="50000"/>
                  </a:spcBef>
                </a:pPr>
                <a:t>42</a:t>
              </a:fld>
              <a:endParaRPr lang="en-US" altLang="en-US" sz="1100">
                <a:solidFill>
                  <a:srgbClr val="FFFFFF"/>
                </a:solidFill>
              </a:endParaRP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1198880" y="2830849"/>
            <a:ext cx="3035066" cy="1711543"/>
            <a:chOff x="749300" y="2359041"/>
            <a:chExt cx="1896916" cy="1426286"/>
          </a:xfrm>
        </p:grpSpPr>
        <p:pic>
          <p:nvPicPr>
            <p:cNvPr id="46" name="Picture 45" descr="03.png"/>
            <p:cNvPicPr>
              <a:picLocks noChangeAspect="1"/>
            </p:cNvPicPr>
            <p:nvPr/>
          </p:nvPicPr>
          <p:blipFill>
            <a:blip r:embed="rId3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 xmlns="">
                    <a14:imgLayer r:embed="rId4">
                      <a14:imgEffect>
                        <a14:artisticMosiaicBubbles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749300" y="2359041"/>
              <a:ext cx="1844435" cy="1426286"/>
            </a:xfrm>
            <a:prstGeom prst="rect">
              <a:avLst/>
            </a:prstGeom>
          </p:spPr>
        </p:pic>
        <p:sp>
          <p:nvSpPr>
            <p:cNvPr id="78" name="Rectangle 77"/>
            <p:cNvSpPr/>
            <p:nvPr/>
          </p:nvSpPr>
          <p:spPr bwMode="auto">
            <a:xfrm rot="19200000">
              <a:off x="2384519" y="3693007"/>
              <a:ext cx="261697" cy="76970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1306220" eaLnBrk="1" hangingPunct="1"/>
              <a:endParaRPr lang="en-US" sz="2300" dirty="0">
                <a:latin typeface="Arial" charset="0"/>
                <a:ea typeface="ＭＳ Ｐゴシック" charset="0"/>
              </a:endParaRP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9778228" y="5908450"/>
            <a:ext cx="3034219" cy="1711543"/>
            <a:chOff x="6111392" y="4923708"/>
            <a:chExt cx="1896387" cy="1426286"/>
          </a:xfrm>
        </p:grpSpPr>
        <p:pic>
          <p:nvPicPr>
            <p:cNvPr id="18" name="Picture 17" descr="10.png"/>
            <p:cNvPicPr>
              <a:picLocks noChangeAspect="1"/>
            </p:cNvPicPr>
            <p:nvPr/>
          </p:nvPicPr>
          <p:blipFill>
            <a:blip r:embed="rId5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 xmlns="">
                    <a14:imgLayer r:embed="rId6">
                      <a14:imgEffect>
                        <a14:artisticMosiaicBubbles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6163344" y="4923708"/>
              <a:ext cx="1844435" cy="1426286"/>
            </a:xfrm>
            <a:prstGeom prst="rect">
              <a:avLst/>
            </a:prstGeom>
          </p:spPr>
        </p:pic>
        <p:sp>
          <p:nvSpPr>
            <p:cNvPr id="14" name="Rectangle 13"/>
            <p:cNvSpPr/>
            <p:nvPr/>
          </p:nvSpPr>
          <p:spPr bwMode="auto">
            <a:xfrm rot="19200000">
              <a:off x="6111392" y="4941455"/>
              <a:ext cx="261697" cy="76970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1306220" eaLnBrk="1" hangingPunct="1"/>
              <a:endParaRPr lang="en-US" sz="2300" dirty="0">
                <a:latin typeface="Arial" charset="0"/>
                <a:ea typeface="ＭＳ Ｐゴシック" charset="0"/>
              </a:endParaRPr>
            </a:p>
          </p:txBody>
        </p:sp>
      </p:grpSp>
      <p:sp>
        <p:nvSpPr>
          <p:cNvPr id="19" name="TextBox 18"/>
          <p:cNvSpPr txBox="1"/>
          <p:nvPr/>
        </p:nvSpPr>
        <p:spPr>
          <a:xfrm>
            <a:off x="9993743" y="6739723"/>
            <a:ext cx="2630723" cy="717699"/>
          </a:xfrm>
          <a:prstGeom prst="rect">
            <a:avLst/>
          </a:prstGeom>
          <a:noFill/>
        </p:spPr>
        <p:txBody>
          <a:bodyPr wrap="square" lIns="130622" tIns="65311" rIns="130622" bIns="65311" rtlCol="0" anchor="ctr">
            <a:spAutoFit/>
          </a:bodyPr>
          <a:lstStyle/>
          <a:p>
            <a:pPr marL="328824" indent="-328824">
              <a:lnSpc>
                <a:spcPct val="90000"/>
              </a:lnSpc>
              <a:spcAft>
                <a:spcPts val="0"/>
              </a:spcAft>
              <a:tabLst>
                <a:tab pos="328824" algn="l"/>
              </a:tabLst>
            </a:pPr>
            <a:r>
              <a:rPr lang="en-US" b="1" kern="0" dirty="0" smtClean="0">
                <a:solidFill>
                  <a:schemeClr val="bg2">
                    <a:lumMod val="50000"/>
                  </a:schemeClr>
                </a:solidFill>
              </a:rPr>
              <a:t>10 	</a:t>
            </a:r>
            <a:r>
              <a:rPr lang="en-US" sz="1600" kern="0" dirty="0">
                <a:solidFill>
                  <a:schemeClr val="bg2">
                    <a:lumMod val="50000"/>
                  </a:schemeClr>
                </a:solidFill>
              </a:rPr>
              <a:t>Manage the digital identity lifecycle</a:t>
            </a:r>
          </a:p>
        </p:txBody>
      </p:sp>
      <p:pic>
        <p:nvPicPr>
          <p:cNvPr id="25" name="Picture 24" descr="04.png"/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 xmlns="">
                  <a14:imgLayer r:embed="rId8">
                    <a14:imgEffect>
                      <a14:artisticMosiaicBubbl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383583" y="6094988"/>
            <a:ext cx="2529509" cy="1532828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4488255" y="6830755"/>
            <a:ext cx="2391019" cy="717699"/>
          </a:xfrm>
          <a:prstGeom prst="rect">
            <a:avLst/>
          </a:prstGeom>
          <a:noFill/>
        </p:spPr>
        <p:txBody>
          <a:bodyPr wrap="square" lIns="130622" tIns="65311" rIns="130622" bIns="65311" rtlCol="0" anchor="ctr">
            <a:spAutoFit/>
          </a:bodyPr>
          <a:lstStyle/>
          <a:p>
            <a:pPr marL="244916" indent="-244916">
              <a:lnSpc>
                <a:spcPct val="90000"/>
              </a:lnSpc>
              <a:spcAft>
                <a:spcPts val="0"/>
              </a:spcAft>
            </a:pPr>
            <a:r>
              <a:rPr lang="en-US" b="1" kern="0" dirty="0" smtClean="0">
                <a:solidFill>
                  <a:schemeClr val="bg2">
                    <a:lumMod val="50000"/>
                  </a:schemeClr>
                </a:solidFill>
              </a:rPr>
              <a:t>8  </a:t>
            </a:r>
            <a:r>
              <a:rPr lang="en-US" sz="1600" kern="0" dirty="0">
                <a:solidFill>
                  <a:schemeClr val="bg2">
                    <a:lumMod val="50000"/>
                  </a:schemeClr>
                </a:solidFill>
              </a:rPr>
              <a:t>Manage third-party security compliance</a:t>
            </a:r>
          </a:p>
        </p:txBody>
      </p:sp>
      <p:pic>
        <p:nvPicPr>
          <p:cNvPr id="28" name="Picture 27" descr="07.png"/>
          <p:cNvPicPr>
            <a:picLocks noChangeAspect="1"/>
          </p:cNvPicPr>
          <p:nvPr/>
        </p:nvPicPr>
        <p:blipFill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 xmlns="">
                  <a14:imgLayer r:embed="rId10">
                    <a14:imgEffect>
                      <a14:artisticMosiaicBubbl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198881" y="5904792"/>
            <a:ext cx="2951096" cy="1711543"/>
          </a:xfrm>
          <a:prstGeom prst="rect">
            <a:avLst/>
          </a:prstGeom>
        </p:spPr>
      </p:pic>
      <p:sp>
        <p:nvSpPr>
          <p:cNvPr id="29" name="TextBox 28"/>
          <p:cNvSpPr txBox="1"/>
          <p:nvPr/>
        </p:nvSpPr>
        <p:spPr>
          <a:xfrm>
            <a:off x="1320606" y="6718265"/>
            <a:ext cx="2715077" cy="939298"/>
          </a:xfrm>
          <a:prstGeom prst="rect">
            <a:avLst/>
          </a:prstGeom>
          <a:noFill/>
        </p:spPr>
        <p:txBody>
          <a:bodyPr wrap="square" lIns="130622" tIns="65311" rIns="130622" bIns="65311" rtlCol="0" anchor="ctr">
            <a:spAutoFit/>
          </a:bodyPr>
          <a:lstStyle/>
          <a:p>
            <a:pPr marL="244916" indent="-244916">
              <a:lnSpc>
                <a:spcPct val="90000"/>
              </a:lnSpc>
              <a:spcAft>
                <a:spcPts val="0"/>
              </a:spcAft>
            </a:pPr>
            <a:r>
              <a:rPr lang="en-US" b="1" kern="0" dirty="0" smtClean="0">
                <a:solidFill>
                  <a:schemeClr val="bg2">
                    <a:lumMod val="50000"/>
                  </a:schemeClr>
                </a:solidFill>
              </a:rPr>
              <a:t>7  </a:t>
            </a:r>
            <a:r>
              <a:rPr lang="en-US" sz="1600" kern="0" dirty="0">
                <a:solidFill>
                  <a:schemeClr val="bg2">
                    <a:lumMod val="50000"/>
                  </a:schemeClr>
                </a:solidFill>
              </a:rPr>
              <a:t>Address security complexity of cloud and virtualization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1188067" y="3434639"/>
            <a:ext cx="2899982" cy="939298"/>
          </a:xfrm>
          <a:prstGeom prst="rect">
            <a:avLst/>
          </a:prstGeom>
          <a:noFill/>
        </p:spPr>
        <p:txBody>
          <a:bodyPr wrap="square" lIns="130622" tIns="65311" rIns="130622" bIns="65311" rtlCol="0" anchor="ctr">
            <a:spAutoFit/>
          </a:bodyPr>
          <a:lstStyle/>
          <a:p>
            <a:pPr marL="244916" indent="-244916" algn="r">
              <a:lnSpc>
                <a:spcPct val="90000"/>
              </a:lnSpc>
              <a:spcAft>
                <a:spcPts val="0"/>
              </a:spcAft>
            </a:pPr>
            <a:r>
              <a:rPr lang="en-US" b="1" kern="0" dirty="0" smtClean="0">
                <a:solidFill>
                  <a:schemeClr val="bg2">
                    <a:lumMod val="50000"/>
                  </a:schemeClr>
                </a:solidFill>
              </a:rPr>
              <a:t>3  </a:t>
            </a:r>
            <a:r>
              <a:rPr lang="en-US" sz="1600" kern="0" dirty="0">
                <a:solidFill>
                  <a:schemeClr val="bg2">
                    <a:lumMod val="50000"/>
                  </a:schemeClr>
                </a:solidFill>
              </a:rPr>
              <a:t>Secure collaboration in social and mobile workplace</a:t>
            </a:r>
          </a:p>
        </p:txBody>
      </p:sp>
      <p:sp>
        <p:nvSpPr>
          <p:cNvPr id="58" name="Oval 57"/>
          <p:cNvSpPr/>
          <p:nvPr/>
        </p:nvSpPr>
        <p:spPr bwMode="auto">
          <a:xfrm>
            <a:off x="2387294" y="3012044"/>
            <a:ext cx="521547" cy="401321"/>
          </a:xfrm>
          <a:prstGeom prst="ellipse">
            <a:avLst/>
          </a:prstGeom>
          <a:solidFill>
            <a:schemeClr val="bg1"/>
          </a:solidFill>
          <a:ln w="19050">
            <a:noFill/>
          </a:ln>
          <a:effectLst/>
          <a:extLst/>
        </p:spPr>
        <p:txBody>
          <a:bodyPr rot="0" spcFirstLastPara="0" vertOverflow="overflow" horzOverflow="overflow" vert="horz" wrap="square" lIns="130622" tIns="65311" rIns="130622" bIns="6531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306220" eaLnBrk="1" hangingPunct="1"/>
            <a:endParaRPr lang="en-US" sz="2300" dirty="0">
              <a:latin typeface="Arial" charset="0"/>
              <a:ea typeface="ＭＳ Ｐゴシック" charset="0"/>
            </a:endParaRPr>
          </a:p>
        </p:txBody>
      </p:sp>
      <p:pic>
        <p:nvPicPr>
          <p:cNvPr id="36" name="Picture 35" descr="06.png"/>
          <p:cNvPicPr>
            <a:picLocks noChangeAspect="1"/>
          </p:cNvPicPr>
          <p:nvPr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 xmlns="">
                  <a14:imgLayer r:embed="rId12">
                    <a14:imgEffect>
                      <a14:artisticMosiaicBubbl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861351" y="2827192"/>
            <a:ext cx="2951096" cy="1711543"/>
          </a:xfrm>
          <a:prstGeom prst="rect">
            <a:avLst/>
          </a:prstGeom>
        </p:spPr>
      </p:pic>
      <p:sp>
        <p:nvSpPr>
          <p:cNvPr id="38" name="TextBox 37"/>
          <p:cNvSpPr txBox="1"/>
          <p:nvPr/>
        </p:nvSpPr>
        <p:spPr>
          <a:xfrm>
            <a:off x="9993741" y="3451764"/>
            <a:ext cx="2752445" cy="717699"/>
          </a:xfrm>
          <a:prstGeom prst="rect">
            <a:avLst/>
          </a:prstGeom>
          <a:noFill/>
        </p:spPr>
        <p:txBody>
          <a:bodyPr wrap="square" lIns="130622" tIns="65311" rIns="130622" bIns="65311" rtlCol="0" anchor="ctr">
            <a:spAutoFit/>
          </a:bodyPr>
          <a:lstStyle/>
          <a:p>
            <a:pPr marL="244916" indent="-244916">
              <a:lnSpc>
                <a:spcPct val="90000"/>
              </a:lnSpc>
              <a:spcAft>
                <a:spcPts val="0"/>
              </a:spcAft>
            </a:pPr>
            <a:r>
              <a:rPr lang="en-US" b="1" kern="0" dirty="0" smtClean="0">
                <a:solidFill>
                  <a:schemeClr val="bg2">
                    <a:lumMod val="50000"/>
                  </a:schemeClr>
                </a:solidFill>
              </a:rPr>
              <a:t>6  </a:t>
            </a:r>
            <a:r>
              <a:rPr lang="en-US" sz="1600" kern="0" dirty="0">
                <a:solidFill>
                  <a:schemeClr val="bg2">
                    <a:lumMod val="50000"/>
                  </a:schemeClr>
                </a:solidFill>
              </a:rPr>
              <a:t>Create a security-rich and resilient network</a:t>
            </a:r>
          </a:p>
        </p:txBody>
      </p:sp>
      <p:pic>
        <p:nvPicPr>
          <p:cNvPr id="45" name="Picture 44"/>
          <p:cNvPicPr>
            <a:picLocks noChangeAspect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 xmlns="">
                  <a14:imgLayer r:embed="rId14">
                    <a14:imgEffect>
                      <a14:artisticCutout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146623" y="4150766"/>
            <a:ext cx="2655010" cy="2128114"/>
          </a:xfrm>
          <a:prstGeom prst="rect">
            <a:avLst/>
          </a:prstGeom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15">
            <a:extLst>
              <a:ext uri="{BEBA8EAE-BF5A-486C-A8C5-ECC9F3942E4B}">
                <a14:imgProps xmlns:a14="http://schemas.microsoft.com/office/drawing/2010/main" xmlns="">
                  <a14:imgLayer r:embed="rId16">
                    <a14:imgEffect>
                      <a14:artisticCutout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198879" y="4150766"/>
            <a:ext cx="2682680" cy="215029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6492" y="324145"/>
            <a:ext cx="13720334" cy="1638469"/>
          </a:xfrm>
        </p:spPr>
        <p:txBody>
          <a:bodyPr/>
          <a:lstStyle/>
          <a:p>
            <a:r>
              <a:rPr lang="en-US" dirty="0" smtClean="0"/>
              <a:t>Based on extensive experience, IBM has outlined 10 essential practices for a stronger security posture</a:t>
            </a:r>
            <a:endParaRPr lang="en-US" dirty="0"/>
          </a:p>
        </p:txBody>
      </p:sp>
      <p:pic>
        <p:nvPicPr>
          <p:cNvPr id="21" name="Picture 20" descr="04.png"/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 xmlns="">
                  <a14:imgLayer r:embed="rId17">
                    <a14:imgEffect>
                      <a14:artisticMosiaicBubbl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21247" y="6094988"/>
            <a:ext cx="2529509" cy="1532828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7270257" y="6718264"/>
            <a:ext cx="2229272" cy="939298"/>
          </a:xfrm>
          <a:prstGeom prst="rect">
            <a:avLst/>
          </a:prstGeom>
          <a:noFill/>
        </p:spPr>
        <p:txBody>
          <a:bodyPr wrap="square" lIns="130622" tIns="65311" rIns="130622" bIns="65311" rtlCol="0" anchor="ctr">
            <a:spAutoFit/>
          </a:bodyPr>
          <a:lstStyle/>
          <a:p>
            <a:pPr marL="244916" indent="-244916">
              <a:lnSpc>
                <a:spcPct val="90000"/>
              </a:lnSpc>
              <a:spcAft>
                <a:spcPts val="0"/>
              </a:spcAft>
            </a:pPr>
            <a:r>
              <a:rPr lang="en-US" b="1" kern="0" dirty="0" smtClean="0">
                <a:solidFill>
                  <a:schemeClr val="bg2">
                    <a:lumMod val="50000"/>
                  </a:schemeClr>
                </a:solidFill>
              </a:rPr>
              <a:t>9  </a:t>
            </a:r>
            <a:r>
              <a:rPr lang="en-US" sz="1600" kern="0" dirty="0">
                <a:solidFill>
                  <a:schemeClr val="bg2">
                    <a:lumMod val="50000"/>
                  </a:schemeClr>
                </a:solidFill>
              </a:rPr>
              <a:t>Assure data security and privacy</a:t>
            </a:r>
          </a:p>
        </p:txBody>
      </p:sp>
      <p:pic>
        <p:nvPicPr>
          <p:cNvPr id="32" name="Picture 31" descr="04.png"/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 xmlns="">
                  <a14:imgLayer r:embed="rId18">
                    <a14:imgEffect>
                      <a14:artisticMosiaicBubbl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21247" y="2830850"/>
            <a:ext cx="2529509" cy="1532828"/>
          </a:xfrm>
          <a:prstGeom prst="rect">
            <a:avLst/>
          </a:prstGeom>
        </p:spPr>
      </p:pic>
      <p:sp>
        <p:nvSpPr>
          <p:cNvPr id="33" name="TextBox 32"/>
          <p:cNvSpPr txBox="1"/>
          <p:nvPr/>
        </p:nvSpPr>
        <p:spPr>
          <a:xfrm>
            <a:off x="7251051" y="3451765"/>
            <a:ext cx="2317824" cy="717699"/>
          </a:xfrm>
          <a:prstGeom prst="rect">
            <a:avLst/>
          </a:prstGeom>
          <a:noFill/>
        </p:spPr>
        <p:txBody>
          <a:bodyPr wrap="square" lIns="130622" tIns="65311" rIns="130622" bIns="65311" rtlCol="0" anchor="ctr">
            <a:spAutoFit/>
          </a:bodyPr>
          <a:lstStyle/>
          <a:p>
            <a:pPr marL="244916" indent="-244916">
              <a:lnSpc>
                <a:spcPct val="90000"/>
              </a:lnSpc>
              <a:spcAft>
                <a:spcPts val="0"/>
              </a:spcAft>
            </a:pPr>
            <a:r>
              <a:rPr lang="en-US" b="1" kern="0" dirty="0" smtClean="0">
                <a:solidFill>
                  <a:schemeClr val="bg2">
                    <a:lumMod val="50000"/>
                  </a:schemeClr>
                </a:solidFill>
              </a:rPr>
              <a:t>5  </a:t>
            </a:r>
            <a:r>
              <a:rPr lang="en-US" sz="1600" kern="0" dirty="0">
                <a:solidFill>
                  <a:schemeClr val="bg2">
                    <a:lumMod val="50000"/>
                  </a:schemeClr>
                </a:solidFill>
              </a:rPr>
              <a:t>Manage IT hygienically</a:t>
            </a:r>
          </a:p>
        </p:txBody>
      </p:sp>
      <p:pic>
        <p:nvPicPr>
          <p:cNvPr id="42" name="Picture 41" descr="04.png"/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 xmlns="">
                  <a14:imgLayer r:embed="rId17">
                    <a14:imgEffect>
                      <a14:artisticMosiaicBubbl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383583" y="2830850"/>
            <a:ext cx="2529509" cy="1532828"/>
          </a:xfrm>
          <a:prstGeom prst="rect">
            <a:avLst/>
          </a:prstGeom>
        </p:spPr>
      </p:pic>
      <p:sp>
        <p:nvSpPr>
          <p:cNvPr id="43" name="TextBox 42"/>
          <p:cNvSpPr txBox="1"/>
          <p:nvPr/>
        </p:nvSpPr>
        <p:spPr>
          <a:xfrm>
            <a:off x="4495665" y="3425063"/>
            <a:ext cx="2414986" cy="939298"/>
          </a:xfrm>
          <a:prstGeom prst="rect">
            <a:avLst/>
          </a:prstGeom>
          <a:noFill/>
        </p:spPr>
        <p:txBody>
          <a:bodyPr wrap="square" lIns="130622" tIns="65311" rIns="130622" bIns="65311" rtlCol="0" anchor="ctr">
            <a:spAutoFit/>
          </a:bodyPr>
          <a:lstStyle/>
          <a:p>
            <a:pPr marL="244916" indent="-244916">
              <a:lnSpc>
                <a:spcPct val="90000"/>
              </a:lnSpc>
              <a:spcAft>
                <a:spcPts val="0"/>
              </a:spcAft>
            </a:pPr>
            <a:r>
              <a:rPr lang="en-US" b="1" kern="0" dirty="0" smtClean="0">
                <a:solidFill>
                  <a:schemeClr val="bg2">
                    <a:lumMod val="50000"/>
                  </a:schemeClr>
                </a:solidFill>
              </a:rPr>
              <a:t>4  </a:t>
            </a:r>
            <a:r>
              <a:rPr lang="en-US" sz="1600" kern="0" dirty="0">
                <a:solidFill>
                  <a:schemeClr val="bg2">
                    <a:lumMod val="50000"/>
                  </a:schemeClr>
                </a:solidFill>
              </a:rPr>
              <a:t>Develop security-rich products, by design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10146623" y="4965590"/>
            <a:ext cx="2569947" cy="1160897"/>
          </a:xfrm>
          <a:prstGeom prst="rect">
            <a:avLst/>
          </a:prstGeom>
          <a:noFill/>
        </p:spPr>
        <p:txBody>
          <a:bodyPr wrap="square" lIns="130622" tIns="65311" rIns="130622" bIns="65311" rtlCol="0" anchor="ctr">
            <a:spAutoFit/>
          </a:bodyPr>
          <a:lstStyle/>
          <a:p>
            <a:pPr marL="244916" indent="-244916" algn="r">
              <a:lnSpc>
                <a:spcPct val="90000"/>
              </a:lnSpc>
              <a:spcAft>
                <a:spcPts val="0"/>
              </a:spcAft>
            </a:pPr>
            <a:r>
              <a:rPr lang="en-US" b="1" kern="0" dirty="0" smtClean="0">
                <a:solidFill>
                  <a:schemeClr val="bg1"/>
                </a:solidFill>
              </a:rPr>
              <a:t>2  </a:t>
            </a:r>
            <a:r>
              <a:rPr lang="en-US" sz="1600" kern="0" dirty="0">
                <a:solidFill>
                  <a:schemeClr val="bg1"/>
                </a:solidFill>
              </a:rPr>
              <a:t>Establish intelligent security operations and rapid threat response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1293142" y="5094830"/>
            <a:ext cx="2567485" cy="939298"/>
          </a:xfrm>
          <a:prstGeom prst="rect">
            <a:avLst/>
          </a:prstGeom>
          <a:noFill/>
        </p:spPr>
        <p:txBody>
          <a:bodyPr wrap="square" lIns="130622" tIns="65311" rIns="130622" bIns="65311" rtlCol="0" anchor="ctr">
            <a:spAutoFit/>
          </a:bodyPr>
          <a:lstStyle/>
          <a:p>
            <a:pPr marL="244916" indent="-244916">
              <a:lnSpc>
                <a:spcPct val="90000"/>
              </a:lnSpc>
              <a:spcAft>
                <a:spcPts val="0"/>
              </a:spcAft>
            </a:pPr>
            <a:r>
              <a:rPr lang="en-US" b="1" kern="0" dirty="0" smtClean="0">
                <a:solidFill>
                  <a:schemeClr val="bg1"/>
                </a:solidFill>
              </a:rPr>
              <a:t>1 </a:t>
            </a:r>
            <a:r>
              <a:rPr lang="en-US" sz="1600" kern="0" dirty="0">
                <a:solidFill>
                  <a:schemeClr val="bg1"/>
                </a:solidFill>
              </a:rPr>
              <a:t> Build a risk-aware culture and management system</a:t>
            </a:r>
          </a:p>
        </p:txBody>
      </p:sp>
      <p:sp>
        <p:nvSpPr>
          <p:cNvPr id="71" name="Rounded Rectangle 70"/>
          <p:cNvSpPr/>
          <p:nvPr/>
        </p:nvSpPr>
        <p:spPr bwMode="auto">
          <a:xfrm>
            <a:off x="3823855" y="1859280"/>
            <a:ext cx="6356466" cy="594360"/>
          </a:xfrm>
          <a:prstGeom prst="roundRect">
            <a:avLst/>
          </a:prstGeom>
          <a:solidFill>
            <a:schemeClr val="bg2">
              <a:lumMod val="75000"/>
            </a:schemeClr>
          </a:solidFill>
          <a:ln w="19050"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/>
        </p:spPr>
        <p:txBody>
          <a:bodyPr rot="0" spcFirstLastPara="0" vertOverflow="overflow" horzOverflow="overflow" vert="horz" wrap="square" lIns="130622" tIns="65311" rIns="130622" bIns="6531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1306220" eaLnBrk="1" hangingPunct="1"/>
            <a:endParaRPr lang="en-US" sz="2300" dirty="0">
              <a:latin typeface="Arial" charset="0"/>
              <a:ea typeface="ＭＳ Ｐゴシック" charset="0"/>
            </a:endParaRPr>
          </a:p>
        </p:txBody>
      </p:sp>
      <p:sp>
        <p:nvSpPr>
          <p:cNvPr id="73" name="Rectangle 7"/>
          <p:cNvSpPr>
            <a:spLocks noChangeArrowheads="1"/>
          </p:cNvSpPr>
          <p:nvPr/>
        </p:nvSpPr>
        <p:spPr bwMode="auto">
          <a:xfrm>
            <a:off x="5242560" y="1920240"/>
            <a:ext cx="4937760" cy="426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eaLnBrk="1" hangingPunct="1">
              <a:lnSpc>
                <a:spcPct val="120000"/>
              </a:lnSpc>
              <a:spcBef>
                <a:spcPts val="0"/>
              </a:spcBef>
              <a:spcAft>
                <a:spcPts val="857"/>
              </a:spcAft>
              <a:buClr>
                <a:schemeClr val="tx2"/>
              </a:buClr>
            </a:pPr>
            <a:r>
              <a:rPr lang="en-US" sz="2300" dirty="0">
                <a:solidFill>
                  <a:srgbClr val="FFFFFF"/>
                </a:solidFill>
              </a:rPr>
              <a:t>Understand security essentials</a:t>
            </a:r>
          </a:p>
        </p:txBody>
      </p:sp>
      <p:pic>
        <p:nvPicPr>
          <p:cNvPr id="74" name="Picture 73" descr="SECURITY.png"/>
          <p:cNvPicPr>
            <a:picLocks noChangeAspect="1"/>
          </p:cNvPicPr>
          <p:nvPr/>
        </p:nvPicPr>
        <p:blipFill>
          <a:blip r:embed="rId19" cstate="print">
            <a:lum bright="70000" contrast="-70000"/>
            <a:extLst>
              <a:ext uri="{BEBA8EAE-BF5A-486C-A8C5-ECC9F3942E4B}">
                <a14:imgProps xmlns:a14="http://schemas.microsoft.com/office/drawing/2010/main" xmlns="">
                  <a14:imgLayer r:embed="rId20">
                    <a14:imgEffect>
                      <a14:artisticPencilGrayscale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304145" y="1904457"/>
            <a:ext cx="572654" cy="492272"/>
          </a:xfrm>
          <a:prstGeom prst="rect">
            <a:avLst/>
          </a:prstGeom>
        </p:spPr>
      </p:pic>
      <p:grpSp>
        <p:nvGrpSpPr>
          <p:cNvPr id="24" name="Group 23"/>
          <p:cNvGrpSpPr/>
          <p:nvPr/>
        </p:nvGrpSpPr>
        <p:grpSpPr>
          <a:xfrm>
            <a:off x="2246295" y="6255328"/>
            <a:ext cx="877454" cy="658091"/>
            <a:chOff x="1403934" y="5212773"/>
            <a:chExt cx="548409" cy="548409"/>
          </a:xfrm>
        </p:grpSpPr>
        <p:sp>
          <p:nvSpPr>
            <p:cNvPr id="67" name="Oval 66"/>
            <p:cNvSpPr/>
            <p:nvPr/>
          </p:nvSpPr>
          <p:spPr bwMode="auto">
            <a:xfrm>
              <a:off x="1482823" y="5287103"/>
              <a:ext cx="325967" cy="334434"/>
            </a:xfrm>
            <a:prstGeom prst="ellipse">
              <a:avLst/>
            </a:prstGeom>
            <a:solidFill>
              <a:schemeClr val="bg1"/>
            </a:solidFill>
            <a:ln w="19050"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1306220" eaLnBrk="1" hangingPunct="1"/>
              <a:endParaRPr lang="en-US" sz="2300" dirty="0">
                <a:latin typeface="Arial" charset="0"/>
                <a:ea typeface="ＭＳ Ｐゴシック" charset="0"/>
              </a:endParaRPr>
            </a:p>
          </p:txBody>
        </p:sp>
        <p:pic>
          <p:nvPicPr>
            <p:cNvPr id="95" name="Picture 94" descr="O Cloud.jpg"/>
            <p:cNvPicPr>
              <a:picLocks noChangeAspect="1"/>
            </p:cNvPicPr>
            <p:nvPr/>
          </p:nvPicPr>
          <p:blipFill>
            <a:blip r:embed="rId21">
              <a:extLst>
                <a:ext uri="{BEBA8EAE-BF5A-486C-A8C5-ECC9F3942E4B}">
                  <a14:imgProps xmlns:a14="http://schemas.microsoft.com/office/drawing/2010/main" xmlns="">
                    <a14:imgLayer r:embed="rId22">
                      <a14:imgEffect>
                        <a14:backgroundRemoval t="9722" b="86111" l="9722" r="86806">
                          <a14:foregroundMark x1="76389" y1="77083" x2="76389" y2="77083"/>
                          <a14:foregroundMark x1="76389" y1="77083" x2="76389" y2="77083"/>
                          <a14:foregroundMark x1="75694" y1="63889" x2="75694" y2="63889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403934" y="5212773"/>
              <a:ext cx="548409" cy="548409"/>
            </a:xfrm>
            <a:prstGeom prst="rect">
              <a:avLst/>
            </a:prstGeom>
          </p:spPr>
        </p:pic>
      </p:grpSp>
      <p:grpSp>
        <p:nvGrpSpPr>
          <p:cNvPr id="20" name="Group 19"/>
          <p:cNvGrpSpPr/>
          <p:nvPr/>
        </p:nvGrpSpPr>
        <p:grpSpPr>
          <a:xfrm>
            <a:off x="5273958" y="6255328"/>
            <a:ext cx="877454" cy="658091"/>
            <a:chOff x="3296223" y="5212773"/>
            <a:chExt cx="548409" cy="548409"/>
          </a:xfrm>
        </p:grpSpPr>
        <p:sp>
          <p:nvSpPr>
            <p:cNvPr id="69" name="Oval 68"/>
            <p:cNvSpPr/>
            <p:nvPr/>
          </p:nvSpPr>
          <p:spPr bwMode="auto">
            <a:xfrm>
              <a:off x="3380894" y="5291719"/>
              <a:ext cx="325967" cy="334434"/>
            </a:xfrm>
            <a:prstGeom prst="ellipse">
              <a:avLst/>
            </a:prstGeom>
            <a:solidFill>
              <a:schemeClr val="bg1"/>
            </a:solidFill>
            <a:ln w="19050"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1306220" eaLnBrk="1" hangingPunct="1"/>
              <a:endParaRPr lang="en-US" sz="2300" dirty="0">
                <a:latin typeface="Arial" charset="0"/>
                <a:ea typeface="ＭＳ Ｐゴシック" charset="0"/>
              </a:endParaRPr>
            </a:p>
          </p:txBody>
        </p:sp>
        <p:pic>
          <p:nvPicPr>
            <p:cNvPr id="96" name="Picture 95" descr="O Compliance.jpg"/>
            <p:cNvPicPr>
              <a:picLocks noChangeAspect="1"/>
            </p:cNvPicPr>
            <p:nvPr/>
          </p:nvPicPr>
          <p:blipFill>
            <a:blip r:embed="rId23">
              <a:extLst>
                <a:ext uri="{BEBA8EAE-BF5A-486C-A8C5-ECC9F3942E4B}">
                  <a14:imgProps xmlns:a14="http://schemas.microsoft.com/office/drawing/2010/main" xmlns="">
                    <a14:imgLayer r:embed="rId24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3296223" y="5212773"/>
              <a:ext cx="548409" cy="548409"/>
            </a:xfrm>
            <a:prstGeom prst="rect">
              <a:avLst/>
            </a:prstGeom>
          </p:spPr>
        </p:pic>
      </p:grpSp>
      <p:grpSp>
        <p:nvGrpSpPr>
          <p:cNvPr id="16" name="Group 15"/>
          <p:cNvGrpSpPr/>
          <p:nvPr/>
        </p:nvGrpSpPr>
        <p:grpSpPr>
          <a:xfrm>
            <a:off x="10980196" y="6255328"/>
            <a:ext cx="877454" cy="658091"/>
            <a:chOff x="6862622" y="5212773"/>
            <a:chExt cx="548409" cy="548409"/>
          </a:xfrm>
        </p:grpSpPr>
        <p:sp>
          <p:nvSpPr>
            <p:cNvPr id="68" name="Oval 67"/>
            <p:cNvSpPr/>
            <p:nvPr/>
          </p:nvSpPr>
          <p:spPr bwMode="auto">
            <a:xfrm>
              <a:off x="6946131" y="5285563"/>
              <a:ext cx="325967" cy="334434"/>
            </a:xfrm>
            <a:prstGeom prst="ellipse">
              <a:avLst/>
            </a:prstGeom>
            <a:solidFill>
              <a:schemeClr val="bg1"/>
            </a:solidFill>
            <a:ln w="19050"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1306220" eaLnBrk="1" hangingPunct="1"/>
              <a:endParaRPr lang="en-US" sz="2300" dirty="0">
                <a:latin typeface="Arial" charset="0"/>
                <a:ea typeface="ＭＳ Ｐゴシック" charset="0"/>
              </a:endParaRPr>
            </a:p>
          </p:txBody>
        </p:sp>
        <p:pic>
          <p:nvPicPr>
            <p:cNvPr id="98" name="Picture 97" descr="O Digital ID.jpg"/>
            <p:cNvPicPr>
              <a:picLocks noChangeAspect="1"/>
            </p:cNvPicPr>
            <p:nvPr/>
          </p:nvPicPr>
          <p:blipFill>
            <a:blip r:embed="rId25">
              <a:extLst>
                <a:ext uri="{BEBA8EAE-BF5A-486C-A8C5-ECC9F3942E4B}">
                  <a14:imgProps xmlns:a14="http://schemas.microsoft.com/office/drawing/2010/main" xmlns="">
                    <a14:imgLayer r:embed="rId26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6862622" y="5212773"/>
              <a:ext cx="548409" cy="548409"/>
            </a:xfrm>
            <a:prstGeom prst="rect">
              <a:avLst/>
            </a:prstGeom>
          </p:spPr>
        </p:pic>
      </p:grpSp>
      <p:pic>
        <p:nvPicPr>
          <p:cNvPr id="101" name="Picture 100" descr="O IT Hygien.jpg"/>
          <p:cNvPicPr>
            <a:picLocks noChangeAspect="1"/>
          </p:cNvPicPr>
          <p:nvPr/>
        </p:nvPicPr>
        <p:blipFill>
          <a:blip r:embed="rId27">
            <a:extLst>
              <a:ext uri="{BEBA8EAE-BF5A-486C-A8C5-ECC9F3942E4B}">
                <a14:imgProps xmlns:a14="http://schemas.microsoft.com/office/drawing/2010/main" xmlns="">
                  <a14:imgLayer r:embed="rId28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989449" y="2916359"/>
            <a:ext cx="877454" cy="658091"/>
          </a:xfrm>
          <a:prstGeom prst="rect">
            <a:avLst/>
          </a:prstGeom>
        </p:spPr>
      </p:pic>
      <p:grpSp>
        <p:nvGrpSpPr>
          <p:cNvPr id="31" name="Group 30"/>
          <p:cNvGrpSpPr/>
          <p:nvPr/>
        </p:nvGrpSpPr>
        <p:grpSpPr>
          <a:xfrm>
            <a:off x="11054083" y="2916359"/>
            <a:ext cx="877454" cy="658091"/>
            <a:chOff x="6908801" y="2430299"/>
            <a:chExt cx="548409" cy="548409"/>
          </a:xfrm>
        </p:grpSpPr>
        <p:sp>
          <p:nvSpPr>
            <p:cNvPr id="66" name="Oval 65"/>
            <p:cNvSpPr/>
            <p:nvPr/>
          </p:nvSpPr>
          <p:spPr bwMode="auto">
            <a:xfrm>
              <a:off x="6993851" y="2508497"/>
              <a:ext cx="325967" cy="334434"/>
            </a:xfrm>
            <a:prstGeom prst="ellipse">
              <a:avLst/>
            </a:prstGeom>
            <a:solidFill>
              <a:schemeClr val="bg1"/>
            </a:solidFill>
            <a:ln w="19050"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1306220" eaLnBrk="1" hangingPunct="1"/>
              <a:endParaRPr lang="en-US" sz="2300" dirty="0">
                <a:latin typeface="Arial" charset="0"/>
                <a:ea typeface="ＭＳ Ｐゴシック" charset="0"/>
              </a:endParaRPr>
            </a:p>
          </p:txBody>
        </p:sp>
        <p:pic>
          <p:nvPicPr>
            <p:cNvPr id="102" name="Picture 101" descr="O Network.jpg"/>
            <p:cNvPicPr>
              <a:picLocks noChangeAspect="1"/>
            </p:cNvPicPr>
            <p:nvPr/>
          </p:nvPicPr>
          <p:blipFill>
            <a:blip r:embed="rId29">
              <a:extLst>
                <a:ext uri="{BEBA8EAE-BF5A-486C-A8C5-ECC9F3942E4B}">
                  <a14:imgProps xmlns:a14="http://schemas.microsoft.com/office/drawing/2010/main" xmlns="">
                    <a14:imgLayer r:embed="rId30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6908801" y="2430299"/>
              <a:ext cx="548409" cy="548409"/>
            </a:xfrm>
            <a:prstGeom prst="rect">
              <a:avLst/>
            </a:prstGeom>
          </p:spPr>
        </p:pic>
      </p:grpSp>
      <p:grpSp>
        <p:nvGrpSpPr>
          <p:cNvPr id="10" name="Group 5"/>
          <p:cNvGrpSpPr/>
          <p:nvPr/>
        </p:nvGrpSpPr>
        <p:grpSpPr>
          <a:xfrm>
            <a:off x="2246295" y="4578926"/>
            <a:ext cx="877454" cy="658091"/>
            <a:chOff x="894769" y="3688771"/>
            <a:chExt cx="548409" cy="548409"/>
          </a:xfrm>
        </p:grpSpPr>
        <p:sp>
          <p:nvSpPr>
            <p:cNvPr id="4" name="Oval 3"/>
            <p:cNvSpPr/>
            <p:nvPr/>
          </p:nvSpPr>
          <p:spPr bwMode="auto">
            <a:xfrm>
              <a:off x="965201" y="3771900"/>
              <a:ext cx="355600" cy="347134"/>
            </a:xfrm>
            <a:prstGeom prst="ellipse">
              <a:avLst/>
            </a:prstGeom>
            <a:solidFill>
              <a:schemeClr val="bg1"/>
            </a:solidFill>
            <a:ln w="19050"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1306220" eaLnBrk="1" hangingPunct="1"/>
              <a:endParaRPr lang="en-US" sz="2300" dirty="0">
                <a:latin typeface="Arial" charset="0"/>
                <a:ea typeface="ＭＳ Ｐゴシック" charset="0"/>
              </a:endParaRPr>
            </a:p>
          </p:txBody>
        </p:sp>
        <p:pic>
          <p:nvPicPr>
            <p:cNvPr id="103" name="Picture 102" descr="O Risk Aware.jpg"/>
            <p:cNvPicPr>
              <a:picLocks noChangeAspect="1"/>
            </p:cNvPicPr>
            <p:nvPr/>
          </p:nvPicPr>
          <p:blipFill>
            <a:blip r:embed="rId31">
              <a:extLst>
                <a:ext uri="{BEBA8EAE-BF5A-486C-A8C5-ECC9F3942E4B}">
                  <a14:imgProps xmlns:a14="http://schemas.microsoft.com/office/drawing/2010/main" xmlns="">
                    <a14:imgLayer r:embed="rId32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94769" y="3688771"/>
              <a:ext cx="548409" cy="548409"/>
            </a:xfrm>
            <a:prstGeom prst="rect">
              <a:avLst/>
            </a:prstGeom>
          </p:spPr>
        </p:pic>
      </p:grpSp>
      <p:pic>
        <p:nvPicPr>
          <p:cNvPr id="104" name="Picture 103" descr="O Secure Data.jpg"/>
          <p:cNvPicPr>
            <a:picLocks noChangeAspect="1"/>
          </p:cNvPicPr>
          <p:nvPr/>
        </p:nvPicPr>
        <p:blipFill>
          <a:blip r:embed="rId33">
            <a:extLst>
              <a:ext uri="{BEBA8EAE-BF5A-486C-A8C5-ECC9F3942E4B}">
                <a14:imgProps xmlns:a14="http://schemas.microsoft.com/office/drawing/2010/main" xmlns="">
                  <a14:imgLayer r:embed="rId34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897087" y="6255328"/>
            <a:ext cx="877454" cy="658091"/>
          </a:xfrm>
          <a:prstGeom prst="rect">
            <a:avLst/>
          </a:prstGeom>
        </p:spPr>
      </p:pic>
      <p:pic>
        <p:nvPicPr>
          <p:cNvPr id="105" name="Picture 104" descr="O Security Design.jpg"/>
          <p:cNvPicPr>
            <a:picLocks noChangeAspect="1"/>
          </p:cNvPicPr>
          <p:nvPr/>
        </p:nvPicPr>
        <p:blipFill>
          <a:blip r:embed="rId35">
            <a:extLst>
              <a:ext uri="{BEBA8EAE-BF5A-486C-A8C5-ECC9F3942E4B}">
                <a14:imgProps xmlns:a14="http://schemas.microsoft.com/office/drawing/2010/main" xmlns="">
                  <a14:imgLayer r:embed="rId36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310900" y="2916359"/>
            <a:ext cx="877454" cy="658091"/>
          </a:xfrm>
          <a:prstGeom prst="rect">
            <a:avLst/>
          </a:prstGeom>
        </p:spPr>
      </p:pic>
      <p:pic>
        <p:nvPicPr>
          <p:cNvPr id="106" name="Picture 105" descr="O Workplace.jpg"/>
          <p:cNvPicPr>
            <a:picLocks noChangeAspect="1"/>
          </p:cNvPicPr>
          <p:nvPr/>
        </p:nvPicPr>
        <p:blipFill>
          <a:blip r:embed="rId37">
            <a:extLst>
              <a:ext uri="{BEBA8EAE-BF5A-486C-A8C5-ECC9F3942E4B}">
                <a14:imgProps xmlns:a14="http://schemas.microsoft.com/office/drawing/2010/main" xmlns="">
                  <a14:imgLayer r:embed="rId38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246295" y="2916359"/>
            <a:ext cx="877454" cy="658091"/>
          </a:xfrm>
          <a:prstGeom prst="rect">
            <a:avLst/>
          </a:prstGeom>
        </p:spPr>
      </p:pic>
      <p:grpSp>
        <p:nvGrpSpPr>
          <p:cNvPr id="11" name="Group 13"/>
          <p:cNvGrpSpPr/>
          <p:nvPr/>
        </p:nvGrpSpPr>
        <p:grpSpPr>
          <a:xfrm>
            <a:off x="11054082" y="4577081"/>
            <a:ext cx="853440" cy="640080"/>
            <a:chOff x="6908801" y="3814234"/>
            <a:chExt cx="533400" cy="533400"/>
          </a:xfrm>
        </p:grpSpPr>
        <p:sp>
          <p:nvSpPr>
            <p:cNvPr id="7" name="Oval 6"/>
            <p:cNvSpPr/>
            <p:nvPr/>
          </p:nvSpPr>
          <p:spPr bwMode="auto">
            <a:xfrm>
              <a:off x="6989233" y="3890433"/>
              <a:ext cx="325967" cy="334434"/>
            </a:xfrm>
            <a:prstGeom prst="ellipse">
              <a:avLst/>
            </a:prstGeom>
            <a:solidFill>
              <a:schemeClr val="bg1"/>
            </a:solidFill>
            <a:ln w="19050">
              <a:noFill/>
            </a:ln>
            <a:effectLst/>
            <a:ex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1306220" eaLnBrk="1" hangingPunct="1"/>
              <a:endParaRPr lang="en-US" sz="2300" dirty="0">
                <a:latin typeface="Arial" charset="0"/>
                <a:ea typeface="ＭＳ Ｐゴシック" charset="0"/>
              </a:endParaRPr>
            </a:p>
          </p:txBody>
        </p:sp>
        <p:pic>
          <p:nvPicPr>
            <p:cNvPr id="5" name="Picture 4" descr="O Intelligence.jpg"/>
            <p:cNvPicPr>
              <a:picLocks noChangeAspect="1"/>
            </p:cNvPicPr>
            <p:nvPr/>
          </p:nvPicPr>
          <p:blipFill>
            <a:blip r:embed="rId39">
              <a:extLst>
                <a:ext uri="{BEBA8EAE-BF5A-486C-A8C5-ECC9F3942E4B}">
                  <a14:imgProps xmlns:a14="http://schemas.microsoft.com/office/drawing/2010/main" xmlns="">
                    <a14:imgLayer r:embed="rId40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6908801" y="3814234"/>
              <a:ext cx="533400" cy="533400"/>
            </a:xfrm>
            <a:prstGeom prst="rect">
              <a:avLst/>
            </a:prstGeom>
          </p:spPr>
        </p:pic>
        <p:grpSp>
          <p:nvGrpSpPr>
            <p:cNvPr id="12" name="Group 9"/>
            <p:cNvGrpSpPr/>
            <p:nvPr/>
          </p:nvGrpSpPr>
          <p:grpSpPr>
            <a:xfrm>
              <a:off x="7069665" y="3958165"/>
              <a:ext cx="177802" cy="156635"/>
              <a:chOff x="4809064" y="3543298"/>
              <a:chExt cx="410635" cy="359834"/>
            </a:xfrm>
          </p:grpSpPr>
          <p:pic>
            <p:nvPicPr>
              <p:cNvPr id="8" name="Picture 7" descr="O Intelligence.jpg"/>
              <p:cNvPicPr>
                <a:picLocks noChangeAspect="1"/>
              </p:cNvPicPr>
              <p:nvPr/>
            </p:nvPicPr>
            <p:blipFill rotWithShape="1">
              <a:blip r:embed="rId41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 l="27488" t="18808" r="32967" b="48881"/>
              <a:stretch/>
            </p:blipFill>
            <p:spPr>
              <a:xfrm>
                <a:off x="4830233" y="3581400"/>
                <a:ext cx="347133" cy="283633"/>
              </a:xfrm>
              <a:prstGeom prst="rect">
                <a:avLst/>
              </a:prstGeom>
            </p:spPr>
          </p:pic>
          <p:sp>
            <p:nvSpPr>
              <p:cNvPr id="9" name="Isosceles Triangle 8"/>
              <p:cNvSpPr/>
              <p:nvPr/>
            </p:nvSpPr>
            <p:spPr bwMode="auto">
              <a:xfrm rot="1980000">
                <a:off x="5088466" y="3577166"/>
                <a:ext cx="131233" cy="55033"/>
              </a:xfrm>
              <a:prstGeom prst="triangle">
                <a:avLst/>
              </a:prstGeom>
              <a:solidFill>
                <a:srgbClr val="FFFFFF"/>
              </a:solidFill>
              <a:ln w="19050">
                <a:solidFill>
                  <a:srgbClr val="FFFFFF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306220" eaLnBrk="1" hangingPunct="1"/>
                <a:endParaRPr lang="en-US" sz="2300" dirty="0">
                  <a:latin typeface="Arial" charset="0"/>
                  <a:ea typeface="ＭＳ Ｐゴシック" charset="0"/>
                </a:endParaRPr>
              </a:p>
            </p:txBody>
          </p:sp>
          <p:sp>
            <p:nvSpPr>
              <p:cNvPr id="51" name="Isosceles Triangle 50"/>
              <p:cNvSpPr/>
              <p:nvPr/>
            </p:nvSpPr>
            <p:spPr bwMode="auto">
              <a:xfrm rot="7560000">
                <a:off x="5122331" y="3809999"/>
                <a:ext cx="131233" cy="55033"/>
              </a:xfrm>
              <a:prstGeom prst="triangle">
                <a:avLst/>
              </a:prstGeom>
              <a:solidFill>
                <a:srgbClr val="FFFFFF"/>
              </a:solidFill>
              <a:ln w="19050">
                <a:solidFill>
                  <a:srgbClr val="FFFFFF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306220" eaLnBrk="1" hangingPunct="1"/>
                <a:endParaRPr lang="en-US" sz="2300" dirty="0">
                  <a:latin typeface="Arial" charset="0"/>
                  <a:ea typeface="ＭＳ Ｐゴシック" charset="0"/>
                </a:endParaRPr>
              </a:p>
            </p:txBody>
          </p:sp>
          <p:sp>
            <p:nvSpPr>
              <p:cNvPr id="53" name="Isosceles Triangle 52"/>
              <p:cNvSpPr/>
              <p:nvPr/>
            </p:nvSpPr>
            <p:spPr bwMode="auto">
              <a:xfrm rot="18600000">
                <a:off x="4770964" y="3581398"/>
                <a:ext cx="131233" cy="55033"/>
              </a:xfrm>
              <a:prstGeom prst="triangle">
                <a:avLst/>
              </a:prstGeom>
              <a:solidFill>
                <a:srgbClr val="FFFFFF"/>
              </a:solidFill>
              <a:ln w="19050">
                <a:solidFill>
                  <a:srgbClr val="FFFFFF"/>
                </a:solidFill>
              </a:ln>
              <a:effectLst/>
              <a:ex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1306220" eaLnBrk="1" hangingPunct="1"/>
                <a:endParaRPr lang="en-US" sz="2300" dirty="0">
                  <a:latin typeface="Arial" charset="0"/>
                  <a:ea typeface="ＭＳ Ｐゴシック" charset="0"/>
                </a:endParaRPr>
              </a:p>
            </p:txBody>
          </p:sp>
        </p:grpSp>
      </p:grpSp>
      <p:pic>
        <p:nvPicPr>
          <p:cNvPr id="84" name="Picture 83" descr="SECURITY.png"/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51511" y="4684885"/>
            <a:ext cx="1232939" cy="105987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>
            <a:off x="6096000" y="4632960"/>
            <a:ext cx="3596640" cy="1188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736301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6433" name="Picture 1" descr="Mauro_IBMix Credentials_20140721_Page_17"/>
          <p:cNvPicPr>
            <a:picLocks noGrp="1" noChangeAspect="1"/>
          </p:cNvPicPr>
          <p:nvPr isPhoto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24998"/>
          <a:stretch>
            <a:fillRect/>
          </a:stretch>
        </p:blipFill>
        <p:spPr bwMode="auto">
          <a:xfrm>
            <a:off x="0" y="0"/>
            <a:ext cx="14630400" cy="822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6434" name="Group 4"/>
          <p:cNvGrpSpPr>
            <a:grpSpLocks/>
          </p:cNvGrpSpPr>
          <p:nvPr/>
        </p:nvGrpSpPr>
        <p:grpSpPr bwMode="auto">
          <a:xfrm>
            <a:off x="-76200" y="3686175"/>
            <a:ext cx="7829550" cy="3255963"/>
            <a:chOff x="-76200" y="3686173"/>
            <a:chExt cx="7829550" cy="3255839"/>
          </a:xfrm>
        </p:grpSpPr>
        <p:sp>
          <p:nvSpPr>
            <p:cNvPr id="4" name="Freeform 3"/>
            <p:cNvSpPr/>
            <p:nvPr/>
          </p:nvSpPr>
          <p:spPr>
            <a:xfrm>
              <a:off x="-76200" y="3686173"/>
              <a:ext cx="7829550" cy="3255839"/>
            </a:xfrm>
            <a:custGeom>
              <a:avLst/>
              <a:gdLst>
                <a:gd name="connsiteX0" fmla="*/ 76542 w 7839417"/>
                <a:gd name="connsiteY0" fmla="*/ 0 h 3276600"/>
                <a:gd name="connsiteX1" fmla="*/ 7839417 w 7839417"/>
                <a:gd name="connsiteY1" fmla="*/ 0 h 3276600"/>
                <a:gd name="connsiteX2" fmla="*/ 6372567 w 7839417"/>
                <a:gd name="connsiteY2" fmla="*/ 1628775 h 3276600"/>
                <a:gd name="connsiteX3" fmla="*/ 5239092 w 7839417"/>
                <a:gd name="connsiteY3" fmla="*/ 1628775 h 3276600"/>
                <a:gd name="connsiteX4" fmla="*/ 2152992 w 7839417"/>
                <a:gd name="connsiteY4" fmla="*/ 3257550 h 3276600"/>
                <a:gd name="connsiteX5" fmla="*/ 2029167 w 7839417"/>
                <a:gd name="connsiteY5" fmla="*/ 3267075 h 3276600"/>
                <a:gd name="connsiteX6" fmla="*/ 1972017 w 7839417"/>
                <a:gd name="connsiteY6" fmla="*/ 3276600 h 3276600"/>
                <a:gd name="connsiteX7" fmla="*/ 1676742 w 7839417"/>
                <a:gd name="connsiteY7" fmla="*/ 3267075 h 3276600"/>
                <a:gd name="connsiteX8" fmla="*/ 1543392 w 7839417"/>
                <a:gd name="connsiteY8" fmla="*/ 3248025 h 3276600"/>
                <a:gd name="connsiteX9" fmla="*/ 1486242 w 7839417"/>
                <a:gd name="connsiteY9" fmla="*/ 3228975 h 3276600"/>
                <a:gd name="connsiteX10" fmla="*/ 1362417 w 7839417"/>
                <a:gd name="connsiteY10" fmla="*/ 3219450 h 3276600"/>
                <a:gd name="connsiteX11" fmla="*/ 1286217 w 7839417"/>
                <a:gd name="connsiteY11" fmla="*/ 3200400 h 3276600"/>
                <a:gd name="connsiteX12" fmla="*/ 1210017 w 7839417"/>
                <a:gd name="connsiteY12" fmla="*/ 3171825 h 3276600"/>
                <a:gd name="connsiteX13" fmla="*/ 1114767 w 7839417"/>
                <a:gd name="connsiteY13" fmla="*/ 3143250 h 3276600"/>
                <a:gd name="connsiteX14" fmla="*/ 1057617 w 7839417"/>
                <a:gd name="connsiteY14" fmla="*/ 3114675 h 3276600"/>
                <a:gd name="connsiteX15" fmla="*/ 1029042 w 7839417"/>
                <a:gd name="connsiteY15" fmla="*/ 3095625 h 3276600"/>
                <a:gd name="connsiteX16" fmla="*/ 848067 w 7839417"/>
                <a:gd name="connsiteY16" fmla="*/ 3086100 h 3276600"/>
                <a:gd name="connsiteX17" fmla="*/ 819492 w 7839417"/>
                <a:gd name="connsiteY17" fmla="*/ 3076575 h 3276600"/>
                <a:gd name="connsiteX18" fmla="*/ 619467 w 7839417"/>
                <a:gd name="connsiteY18" fmla="*/ 3057525 h 3276600"/>
                <a:gd name="connsiteX19" fmla="*/ 524217 w 7839417"/>
                <a:gd name="connsiteY19" fmla="*/ 3028950 h 3276600"/>
                <a:gd name="connsiteX20" fmla="*/ 495642 w 7839417"/>
                <a:gd name="connsiteY20" fmla="*/ 3019425 h 3276600"/>
                <a:gd name="connsiteX21" fmla="*/ 467067 w 7839417"/>
                <a:gd name="connsiteY21" fmla="*/ 3009900 h 3276600"/>
                <a:gd name="connsiteX22" fmla="*/ 400392 w 7839417"/>
                <a:gd name="connsiteY22" fmla="*/ 2971800 h 3276600"/>
                <a:gd name="connsiteX23" fmla="*/ 343242 w 7839417"/>
                <a:gd name="connsiteY23" fmla="*/ 2952750 h 3276600"/>
                <a:gd name="connsiteX24" fmla="*/ 257517 w 7839417"/>
                <a:gd name="connsiteY24" fmla="*/ 2914650 h 3276600"/>
                <a:gd name="connsiteX25" fmla="*/ 228942 w 7839417"/>
                <a:gd name="connsiteY25" fmla="*/ 2905125 h 3276600"/>
                <a:gd name="connsiteX26" fmla="*/ 162267 w 7839417"/>
                <a:gd name="connsiteY26" fmla="*/ 2857500 h 3276600"/>
                <a:gd name="connsiteX27" fmla="*/ 133692 w 7839417"/>
                <a:gd name="connsiteY27" fmla="*/ 2847975 h 3276600"/>
                <a:gd name="connsiteX28" fmla="*/ 67017 w 7839417"/>
                <a:gd name="connsiteY28" fmla="*/ 2819400 h 3276600"/>
                <a:gd name="connsiteX29" fmla="*/ 342 w 7839417"/>
                <a:gd name="connsiteY29" fmla="*/ 2752725 h 3276600"/>
                <a:gd name="connsiteX30" fmla="*/ 342 w 7839417"/>
                <a:gd name="connsiteY30" fmla="*/ 2743200 h 3276600"/>
                <a:gd name="connsiteX31" fmla="*/ 9867 w 7839417"/>
                <a:gd name="connsiteY31" fmla="*/ 0 h 3276600"/>
                <a:gd name="connsiteX32" fmla="*/ 9867 w 7839417"/>
                <a:gd name="connsiteY32" fmla="*/ 0 h 3276600"/>
                <a:gd name="connsiteX33" fmla="*/ 9867 w 7839417"/>
                <a:gd name="connsiteY33" fmla="*/ 0 h 3276600"/>
                <a:gd name="connsiteX0" fmla="*/ 76542 w 7839417"/>
                <a:gd name="connsiteY0" fmla="*/ 0 h 3335255"/>
                <a:gd name="connsiteX1" fmla="*/ 7839417 w 7839417"/>
                <a:gd name="connsiteY1" fmla="*/ 0 h 3335255"/>
                <a:gd name="connsiteX2" fmla="*/ 6372567 w 7839417"/>
                <a:gd name="connsiteY2" fmla="*/ 1628775 h 3335255"/>
                <a:gd name="connsiteX3" fmla="*/ 5239092 w 7839417"/>
                <a:gd name="connsiteY3" fmla="*/ 1628775 h 3335255"/>
                <a:gd name="connsiteX4" fmla="*/ 4581867 w 7839417"/>
                <a:gd name="connsiteY4" fmla="*/ 2390775 h 3335255"/>
                <a:gd name="connsiteX5" fmla="*/ 2029167 w 7839417"/>
                <a:gd name="connsiteY5" fmla="*/ 3267075 h 3335255"/>
                <a:gd name="connsiteX6" fmla="*/ 1972017 w 7839417"/>
                <a:gd name="connsiteY6" fmla="*/ 3276600 h 3335255"/>
                <a:gd name="connsiteX7" fmla="*/ 1676742 w 7839417"/>
                <a:gd name="connsiteY7" fmla="*/ 3267075 h 3335255"/>
                <a:gd name="connsiteX8" fmla="*/ 1543392 w 7839417"/>
                <a:gd name="connsiteY8" fmla="*/ 3248025 h 3335255"/>
                <a:gd name="connsiteX9" fmla="*/ 1486242 w 7839417"/>
                <a:gd name="connsiteY9" fmla="*/ 3228975 h 3335255"/>
                <a:gd name="connsiteX10" fmla="*/ 1362417 w 7839417"/>
                <a:gd name="connsiteY10" fmla="*/ 3219450 h 3335255"/>
                <a:gd name="connsiteX11" fmla="*/ 1286217 w 7839417"/>
                <a:gd name="connsiteY11" fmla="*/ 3200400 h 3335255"/>
                <a:gd name="connsiteX12" fmla="*/ 1210017 w 7839417"/>
                <a:gd name="connsiteY12" fmla="*/ 3171825 h 3335255"/>
                <a:gd name="connsiteX13" fmla="*/ 1114767 w 7839417"/>
                <a:gd name="connsiteY13" fmla="*/ 3143250 h 3335255"/>
                <a:gd name="connsiteX14" fmla="*/ 1057617 w 7839417"/>
                <a:gd name="connsiteY14" fmla="*/ 3114675 h 3335255"/>
                <a:gd name="connsiteX15" fmla="*/ 1029042 w 7839417"/>
                <a:gd name="connsiteY15" fmla="*/ 3095625 h 3335255"/>
                <a:gd name="connsiteX16" fmla="*/ 848067 w 7839417"/>
                <a:gd name="connsiteY16" fmla="*/ 3086100 h 3335255"/>
                <a:gd name="connsiteX17" fmla="*/ 819492 w 7839417"/>
                <a:gd name="connsiteY17" fmla="*/ 3076575 h 3335255"/>
                <a:gd name="connsiteX18" fmla="*/ 619467 w 7839417"/>
                <a:gd name="connsiteY18" fmla="*/ 3057525 h 3335255"/>
                <a:gd name="connsiteX19" fmla="*/ 524217 w 7839417"/>
                <a:gd name="connsiteY19" fmla="*/ 3028950 h 3335255"/>
                <a:gd name="connsiteX20" fmla="*/ 495642 w 7839417"/>
                <a:gd name="connsiteY20" fmla="*/ 3019425 h 3335255"/>
                <a:gd name="connsiteX21" fmla="*/ 467067 w 7839417"/>
                <a:gd name="connsiteY21" fmla="*/ 3009900 h 3335255"/>
                <a:gd name="connsiteX22" fmla="*/ 400392 w 7839417"/>
                <a:gd name="connsiteY22" fmla="*/ 2971800 h 3335255"/>
                <a:gd name="connsiteX23" fmla="*/ 343242 w 7839417"/>
                <a:gd name="connsiteY23" fmla="*/ 2952750 h 3335255"/>
                <a:gd name="connsiteX24" fmla="*/ 257517 w 7839417"/>
                <a:gd name="connsiteY24" fmla="*/ 2914650 h 3335255"/>
                <a:gd name="connsiteX25" fmla="*/ 228942 w 7839417"/>
                <a:gd name="connsiteY25" fmla="*/ 2905125 h 3335255"/>
                <a:gd name="connsiteX26" fmla="*/ 162267 w 7839417"/>
                <a:gd name="connsiteY26" fmla="*/ 2857500 h 3335255"/>
                <a:gd name="connsiteX27" fmla="*/ 133692 w 7839417"/>
                <a:gd name="connsiteY27" fmla="*/ 2847975 h 3335255"/>
                <a:gd name="connsiteX28" fmla="*/ 67017 w 7839417"/>
                <a:gd name="connsiteY28" fmla="*/ 2819400 h 3335255"/>
                <a:gd name="connsiteX29" fmla="*/ 342 w 7839417"/>
                <a:gd name="connsiteY29" fmla="*/ 2752725 h 3335255"/>
                <a:gd name="connsiteX30" fmla="*/ 342 w 7839417"/>
                <a:gd name="connsiteY30" fmla="*/ 2743200 h 3335255"/>
                <a:gd name="connsiteX31" fmla="*/ 9867 w 7839417"/>
                <a:gd name="connsiteY31" fmla="*/ 0 h 3335255"/>
                <a:gd name="connsiteX32" fmla="*/ 9867 w 7839417"/>
                <a:gd name="connsiteY32" fmla="*/ 0 h 3335255"/>
                <a:gd name="connsiteX33" fmla="*/ 9867 w 7839417"/>
                <a:gd name="connsiteY33" fmla="*/ 0 h 3335255"/>
                <a:gd name="connsiteX0" fmla="*/ 76542 w 7839417"/>
                <a:gd name="connsiteY0" fmla="*/ 0 h 3335255"/>
                <a:gd name="connsiteX1" fmla="*/ 7839417 w 7839417"/>
                <a:gd name="connsiteY1" fmla="*/ 0 h 3335255"/>
                <a:gd name="connsiteX2" fmla="*/ 6372567 w 7839417"/>
                <a:gd name="connsiteY2" fmla="*/ 1628775 h 3335255"/>
                <a:gd name="connsiteX3" fmla="*/ 5239092 w 7839417"/>
                <a:gd name="connsiteY3" fmla="*/ 1628775 h 3335255"/>
                <a:gd name="connsiteX4" fmla="*/ 4581867 w 7839417"/>
                <a:gd name="connsiteY4" fmla="*/ 2390775 h 3335255"/>
                <a:gd name="connsiteX5" fmla="*/ 2029167 w 7839417"/>
                <a:gd name="connsiteY5" fmla="*/ 3267075 h 3335255"/>
                <a:gd name="connsiteX6" fmla="*/ 1972017 w 7839417"/>
                <a:gd name="connsiteY6" fmla="*/ 3276600 h 3335255"/>
                <a:gd name="connsiteX7" fmla="*/ 1676742 w 7839417"/>
                <a:gd name="connsiteY7" fmla="*/ 3267075 h 3335255"/>
                <a:gd name="connsiteX8" fmla="*/ 1543392 w 7839417"/>
                <a:gd name="connsiteY8" fmla="*/ 3248025 h 3335255"/>
                <a:gd name="connsiteX9" fmla="*/ 1486242 w 7839417"/>
                <a:gd name="connsiteY9" fmla="*/ 3228975 h 3335255"/>
                <a:gd name="connsiteX10" fmla="*/ 1362417 w 7839417"/>
                <a:gd name="connsiteY10" fmla="*/ 3219450 h 3335255"/>
                <a:gd name="connsiteX11" fmla="*/ 1286217 w 7839417"/>
                <a:gd name="connsiteY11" fmla="*/ 3200400 h 3335255"/>
                <a:gd name="connsiteX12" fmla="*/ 1210017 w 7839417"/>
                <a:gd name="connsiteY12" fmla="*/ 3171825 h 3335255"/>
                <a:gd name="connsiteX13" fmla="*/ 1114767 w 7839417"/>
                <a:gd name="connsiteY13" fmla="*/ 3143250 h 3335255"/>
                <a:gd name="connsiteX14" fmla="*/ 1057617 w 7839417"/>
                <a:gd name="connsiteY14" fmla="*/ 3114675 h 3335255"/>
                <a:gd name="connsiteX15" fmla="*/ 1029042 w 7839417"/>
                <a:gd name="connsiteY15" fmla="*/ 3095625 h 3335255"/>
                <a:gd name="connsiteX16" fmla="*/ 848067 w 7839417"/>
                <a:gd name="connsiteY16" fmla="*/ 3086100 h 3335255"/>
                <a:gd name="connsiteX17" fmla="*/ 819492 w 7839417"/>
                <a:gd name="connsiteY17" fmla="*/ 3076575 h 3335255"/>
                <a:gd name="connsiteX18" fmla="*/ 619467 w 7839417"/>
                <a:gd name="connsiteY18" fmla="*/ 3057525 h 3335255"/>
                <a:gd name="connsiteX19" fmla="*/ 524217 w 7839417"/>
                <a:gd name="connsiteY19" fmla="*/ 3028950 h 3335255"/>
                <a:gd name="connsiteX20" fmla="*/ 495642 w 7839417"/>
                <a:gd name="connsiteY20" fmla="*/ 3019425 h 3335255"/>
                <a:gd name="connsiteX21" fmla="*/ 467067 w 7839417"/>
                <a:gd name="connsiteY21" fmla="*/ 3009900 h 3335255"/>
                <a:gd name="connsiteX22" fmla="*/ 400392 w 7839417"/>
                <a:gd name="connsiteY22" fmla="*/ 2971800 h 3335255"/>
                <a:gd name="connsiteX23" fmla="*/ 343242 w 7839417"/>
                <a:gd name="connsiteY23" fmla="*/ 2952750 h 3335255"/>
                <a:gd name="connsiteX24" fmla="*/ 257517 w 7839417"/>
                <a:gd name="connsiteY24" fmla="*/ 2914650 h 3335255"/>
                <a:gd name="connsiteX25" fmla="*/ 228942 w 7839417"/>
                <a:gd name="connsiteY25" fmla="*/ 2905125 h 3335255"/>
                <a:gd name="connsiteX26" fmla="*/ 162267 w 7839417"/>
                <a:gd name="connsiteY26" fmla="*/ 2857500 h 3335255"/>
                <a:gd name="connsiteX27" fmla="*/ 133692 w 7839417"/>
                <a:gd name="connsiteY27" fmla="*/ 2847975 h 3335255"/>
                <a:gd name="connsiteX28" fmla="*/ 67017 w 7839417"/>
                <a:gd name="connsiteY28" fmla="*/ 2819400 h 3335255"/>
                <a:gd name="connsiteX29" fmla="*/ 342 w 7839417"/>
                <a:gd name="connsiteY29" fmla="*/ 2752725 h 3335255"/>
                <a:gd name="connsiteX30" fmla="*/ 342 w 7839417"/>
                <a:gd name="connsiteY30" fmla="*/ 2743200 h 3335255"/>
                <a:gd name="connsiteX31" fmla="*/ 9867 w 7839417"/>
                <a:gd name="connsiteY31" fmla="*/ 0 h 3335255"/>
                <a:gd name="connsiteX32" fmla="*/ 9867 w 7839417"/>
                <a:gd name="connsiteY32" fmla="*/ 0 h 3335255"/>
                <a:gd name="connsiteX33" fmla="*/ 9867 w 7839417"/>
                <a:gd name="connsiteY33" fmla="*/ 0 h 3335255"/>
                <a:gd name="connsiteX0" fmla="*/ 81138 w 7844013"/>
                <a:gd name="connsiteY0" fmla="*/ 0 h 3335255"/>
                <a:gd name="connsiteX1" fmla="*/ 7844013 w 7844013"/>
                <a:gd name="connsiteY1" fmla="*/ 0 h 3335255"/>
                <a:gd name="connsiteX2" fmla="*/ 6377163 w 7844013"/>
                <a:gd name="connsiteY2" fmla="*/ 1628775 h 3335255"/>
                <a:gd name="connsiteX3" fmla="*/ 5243688 w 7844013"/>
                <a:gd name="connsiteY3" fmla="*/ 1628775 h 3335255"/>
                <a:gd name="connsiteX4" fmla="*/ 4586463 w 7844013"/>
                <a:gd name="connsiteY4" fmla="*/ 2390775 h 3335255"/>
                <a:gd name="connsiteX5" fmla="*/ 2033763 w 7844013"/>
                <a:gd name="connsiteY5" fmla="*/ 3267075 h 3335255"/>
                <a:gd name="connsiteX6" fmla="*/ 1976613 w 7844013"/>
                <a:gd name="connsiteY6" fmla="*/ 3276600 h 3335255"/>
                <a:gd name="connsiteX7" fmla="*/ 1681338 w 7844013"/>
                <a:gd name="connsiteY7" fmla="*/ 3267075 h 3335255"/>
                <a:gd name="connsiteX8" fmla="*/ 1547988 w 7844013"/>
                <a:gd name="connsiteY8" fmla="*/ 3248025 h 3335255"/>
                <a:gd name="connsiteX9" fmla="*/ 1490838 w 7844013"/>
                <a:gd name="connsiteY9" fmla="*/ 3228975 h 3335255"/>
                <a:gd name="connsiteX10" fmla="*/ 1367013 w 7844013"/>
                <a:gd name="connsiteY10" fmla="*/ 3219450 h 3335255"/>
                <a:gd name="connsiteX11" fmla="*/ 1290813 w 7844013"/>
                <a:gd name="connsiteY11" fmla="*/ 3200400 h 3335255"/>
                <a:gd name="connsiteX12" fmla="*/ 1214613 w 7844013"/>
                <a:gd name="connsiteY12" fmla="*/ 3171825 h 3335255"/>
                <a:gd name="connsiteX13" fmla="*/ 1119363 w 7844013"/>
                <a:gd name="connsiteY13" fmla="*/ 3143250 h 3335255"/>
                <a:gd name="connsiteX14" fmla="*/ 1062213 w 7844013"/>
                <a:gd name="connsiteY14" fmla="*/ 3114675 h 3335255"/>
                <a:gd name="connsiteX15" fmla="*/ 1033638 w 7844013"/>
                <a:gd name="connsiteY15" fmla="*/ 3095625 h 3335255"/>
                <a:gd name="connsiteX16" fmla="*/ 852663 w 7844013"/>
                <a:gd name="connsiteY16" fmla="*/ 3086100 h 3335255"/>
                <a:gd name="connsiteX17" fmla="*/ 824088 w 7844013"/>
                <a:gd name="connsiteY17" fmla="*/ 3076575 h 3335255"/>
                <a:gd name="connsiteX18" fmla="*/ 624063 w 7844013"/>
                <a:gd name="connsiteY18" fmla="*/ 3057525 h 3335255"/>
                <a:gd name="connsiteX19" fmla="*/ 528813 w 7844013"/>
                <a:gd name="connsiteY19" fmla="*/ 3028950 h 3335255"/>
                <a:gd name="connsiteX20" fmla="*/ 500238 w 7844013"/>
                <a:gd name="connsiteY20" fmla="*/ 3019425 h 3335255"/>
                <a:gd name="connsiteX21" fmla="*/ 471663 w 7844013"/>
                <a:gd name="connsiteY21" fmla="*/ 3009900 h 3335255"/>
                <a:gd name="connsiteX22" fmla="*/ 404988 w 7844013"/>
                <a:gd name="connsiteY22" fmla="*/ 2971800 h 3335255"/>
                <a:gd name="connsiteX23" fmla="*/ 347838 w 7844013"/>
                <a:gd name="connsiteY23" fmla="*/ 2952750 h 3335255"/>
                <a:gd name="connsiteX24" fmla="*/ 262113 w 7844013"/>
                <a:gd name="connsiteY24" fmla="*/ 2914650 h 3335255"/>
                <a:gd name="connsiteX25" fmla="*/ 233538 w 7844013"/>
                <a:gd name="connsiteY25" fmla="*/ 2905125 h 3335255"/>
                <a:gd name="connsiteX26" fmla="*/ 166863 w 7844013"/>
                <a:gd name="connsiteY26" fmla="*/ 2857500 h 3335255"/>
                <a:gd name="connsiteX27" fmla="*/ 138288 w 7844013"/>
                <a:gd name="connsiteY27" fmla="*/ 2847975 h 3335255"/>
                <a:gd name="connsiteX28" fmla="*/ 71613 w 7844013"/>
                <a:gd name="connsiteY28" fmla="*/ 2819400 h 3335255"/>
                <a:gd name="connsiteX29" fmla="*/ 4938 w 7844013"/>
                <a:gd name="connsiteY29" fmla="*/ 2752725 h 3335255"/>
                <a:gd name="connsiteX30" fmla="*/ 4938 w 7844013"/>
                <a:gd name="connsiteY30" fmla="*/ 2743200 h 3335255"/>
                <a:gd name="connsiteX31" fmla="*/ 14463 w 7844013"/>
                <a:gd name="connsiteY31" fmla="*/ 0 h 3335255"/>
                <a:gd name="connsiteX32" fmla="*/ 14463 w 7844013"/>
                <a:gd name="connsiteY32" fmla="*/ 0 h 3335255"/>
                <a:gd name="connsiteX33" fmla="*/ 14463 w 7844013"/>
                <a:gd name="connsiteY33" fmla="*/ 0 h 3335255"/>
                <a:gd name="connsiteX0" fmla="*/ 81138 w 7844013"/>
                <a:gd name="connsiteY0" fmla="*/ 0 h 3335255"/>
                <a:gd name="connsiteX1" fmla="*/ 7844013 w 7844013"/>
                <a:gd name="connsiteY1" fmla="*/ 0 h 3335255"/>
                <a:gd name="connsiteX2" fmla="*/ 6377163 w 7844013"/>
                <a:gd name="connsiteY2" fmla="*/ 1628775 h 3335255"/>
                <a:gd name="connsiteX3" fmla="*/ 5243688 w 7844013"/>
                <a:gd name="connsiteY3" fmla="*/ 1628775 h 3335255"/>
                <a:gd name="connsiteX4" fmla="*/ 4586463 w 7844013"/>
                <a:gd name="connsiteY4" fmla="*/ 2390775 h 3335255"/>
                <a:gd name="connsiteX5" fmla="*/ 2033763 w 7844013"/>
                <a:gd name="connsiteY5" fmla="*/ 3267075 h 3335255"/>
                <a:gd name="connsiteX6" fmla="*/ 1976613 w 7844013"/>
                <a:gd name="connsiteY6" fmla="*/ 3276600 h 3335255"/>
                <a:gd name="connsiteX7" fmla="*/ 1681338 w 7844013"/>
                <a:gd name="connsiteY7" fmla="*/ 3267075 h 3335255"/>
                <a:gd name="connsiteX8" fmla="*/ 1547988 w 7844013"/>
                <a:gd name="connsiteY8" fmla="*/ 3248025 h 3335255"/>
                <a:gd name="connsiteX9" fmla="*/ 1490838 w 7844013"/>
                <a:gd name="connsiteY9" fmla="*/ 3228975 h 3335255"/>
                <a:gd name="connsiteX10" fmla="*/ 1367013 w 7844013"/>
                <a:gd name="connsiteY10" fmla="*/ 3219450 h 3335255"/>
                <a:gd name="connsiteX11" fmla="*/ 1290813 w 7844013"/>
                <a:gd name="connsiteY11" fmla="*/ 3200400 h 3335255"/>
                <a:gd name="connsiteX12" fmla="*/ 1214613 w 7844013"/>
                <a:gd name="connsiteY12" fmla="*/ 3171825 h 3335255"/>
                <a:gd name="connsiteX13" fmla="*/ 1119363 w 7844013"/>
                <a:gd name="connsiteY13" fmla="*/ 3143250 h 3335255"/>
                <a:gd name="connsiteX14" fmla="*/ 1062213 w 7844013"/>
                <a:gd name="connsiteY14" fmla="*/ 3114675 h 3335255"/>
                <a:gd name="connsiteX15" fmla="*/ 1033638 w 7844013"/>
                <a:gd name="connsiteY15" fmla="*/ 3095625 h 3335255"/>
                <a:gd name="connsiteX16" fmla="*/ 852663 w 7844013"/>
                <a:gd name="connsiteY16" fmla="*/ 3086100 h 3335255"/>
                <a:gd name="connsiteX17" fmla="*/ 824088 w 7844013"/>
                <a:gd name="connsiteY17" fmla="*/ 3076575 h 3335255"/>
                <a:gd name="connsiteX18" fmla="*/ 624063 w 7844013"/>
                <a:gd name="connsiteY18" fmla="*/ 3057525 h 3335255"/>
                <a:gd name="connsiteX19" fmla="*/ 528813 w 7844013"/>
                <a:gd name="connsiteY19" fmla="*/ 3028950 h 3335255"/>
                <a:gd name="connsiteX20" fmla="*/ 500238 w 7844013"/>
                <a:gd name="connsiteY20" fmla="*/ 3019425 h 3335255"/>
                <a:gd name="connsiteX21" fmla="*/ 471663 w 7844013"/>
                <a:gd name="connsiteY21" fmla="*/ 3009900 h 3335255"/>
                <a:gd name="connsiteX22" fmla="*/ 404988 w 7844013"/>
                <a:gd name="connsiteY22" fmla="*/ 2971800 h 3335255"/>
                <a:gd name="connsiteX23" fmla="*/ 347838 w 7844013"/>
                <a:gd name="connsiteY23" fmla="*/ 2952750 h 3335255"/>
                <a:gd name="connsiteX24" fmla="*/ 262113 w 7844013"/>
                <a:gd name="connsiteY24" fmla="*/ 2914650 h 3335255"/>
                <a:gd name="connsiteX25" fmla="*/ 233538 w 7844013"/>
                <a:gd name="connsiteY25" fmla="*/ 2905125 h 3335255"/>
                <a:gd name="connsiteX26" fmla="*/ 166863 w 7844013"/>
                <a:gd name="connsiteY26" fmla="*/ 2857500 h 3335255"/>
                <a:gd name="connsiteX27" fmla="*/ 138288 w 7844013"/>
                <a:gd name="connsiteY27" fmla="*/ 2847975 h 3335255"/>
                <a:gd name="connsiteX28" fmla="*/ 71613 w 7844013"/>
                <a:gd name="connsiteY28" fmla="*/ 2819400 h 3335255"/>
                <a:gd name="connsiteX29" fmla="*/ 4938 w 7844013"/>
                <a:gd name="connsiteY29" fmla="*/ 2752725 h 3335255"/>
                <a:gd name="connsiteX30" fmla="*/ 4938 w 7844013"/>
                <a:gd name="connsiteY30" fmla="*/ 2743200 h 3335255"/>
                <a:gd name="connsiteX31" fmla="*/ 14463 w 7844013"/>
                <a:gd name="connsiteY31" fmla="*/ 0 h 3335255"/>
                <a:gd name="connsiteX32" fmla="*/ 14463 w 7844013"/>
                <a:gd name="connsiteY32" fmla="*/ 0 h 3335255"/>
                <a:gd name="connsiteX33" fmla="*/ 14463 w 7844013"/>
                <a:gd name="connsiteY33" fmla="*/ 0 h 3335255"/>
                <a:gd name="connsiteX0" fmla="*/ 86077 w 7848952"/>
                <a:gd name="connsiteY0" fmla="*/ 0 h 3335255"/>
                <a:gd name="connsiteX1" fmla="*/ 7848952 w 7848952"/>
                <a:gd name="connsiteY1" fmla="*/ 0 h 3335255"/>
                <a:gd name="connsiteX2" fmla="*/ 6382102 w 7848952"/>
                <a:gd name="connsiteY2" fmla="*/ 1628775 h 3335255"/>
                <a:gd name="connsiteX3" fmla="*/ 5248627 w 7848952"/>
                <a:gd name="connsiteY3" fmla="*/ 1628775 h 3335255"/>
                <a:gd name="connsiteX4" fmla="*/ 4591402 w 7848952"/>
                <a:gd name="connsiteY4" fmla="*/ 2390775 h 3335255"/>
                <a:gd name="connsiteX5" fmla="*/ 2038702 w 7848952"/>
                <a:gd name="connsiteY5" fmla="*/ 3267075 h 3335255"/>
                <a:gd name="connsiteX6" fmla="*/ 1981552 w 7848952"/>
                <a:gd name="connsiteY6" fmla="*/ 3276600 h 3335255"/>
                <a:gd name="connsiteX7" fmla="*/ 1686277 w 7848952"/>
                <a:gd name="connsiteY7" fmla="*/ 3267075 h 3335255"/>
                <a:gd name="connsiteX8" fmla="*/ 1552927 w 7848952"/>
                <a:gd name="connsiteY8" fmla="*/ 3248025 h 3335255"/>
                <a:gd name="connsiteX9" fmla="*/ 1495777 w 7848952"/>
                <a:gd name="connsiteY9" fmla="*/ 3228975 h 3335255"/>
                <a:gd name="connsiteX10" fmla="*/ 1371952 w 7848952"/>
                <a:gd name="connsiteY10" fmla="*/ 3219450 h 3335255"/>
                <a:gd name="connsiteX11" fmla="*/ 1295752 w 7848952"/>
                <a:gd name="connsiteY11" fmla="*/ 3200400 h 3335255"/>
                <a:gd name="connsiteX12" fmla="*/ 1219552 w 7848952"/>
                <a:gd name="connsiteY12" fmla="*/ 3171825 h 3335255"/>
                <a:gd name="connsiteX13" fmla="*/ 1124302 w 7848952"/>
                <a:gd name="connsiteY13" fmla="*/ 3143250 h 3335255"/>
                <a:gd name="connsiteX14" fmla="*/ 1067152 w 7848952"/>
                <a:gd name="connsiteY14" fmla="*/ 3114675 h 3335255"/>
                <a:gd name="connsiteX15" fmla="*/ 1038577 w 7848952"/>
                <a:gd name="connsiteY15" fmla="*/ 3095625 h 3335255"/>
                <a:gd name="connsiteX16" fmla="*/ 857602 w 7848952"/>
                <a:gd name="connsiteY16" fmla="*/ 3086100 h 3335255"/>
                <a:gd name="connsiteX17" fmla="*/ 829027 w 7848952"/>
                <a:gd name="connsiteY17" fmla="*/ 3076575 h 3335255"/>
                <a:gd name="connsiteX18" fmla="*/ 629002 w 7848952"/>
                <a:gd name="connsiteY18" fmla="*/ 3057525 h 3335255"/>
                <a:gd name="connsiteX19" fmla="*/ 533752 w 7848952"/>
                <a:gd name="connsiteY19" fmla="*/ 3028950 h 3335255"/>
                <a:gd name="connsiteX20" fmla="*/ 505177 w 7848952"/>
                <a:gd name="connsiteY20" fmla="*/ 3019425 h 3335255"/>
                <a:gd name="connsiteX21" fmla="*/ 476602 w 7848952"/>
                <a:gd name="connsiteY21" fmla="*/ 3009900 h 3335255"/>
                <a:gd name="connsiteX22" fmla="*/ 409927 w 7848952"/>
                <a:gd name="connsiteY22" fmla="*/ 2971800 h 3335255"/>
                <a:gd name="connsiteX23" fmla="*/ 352777 w 7848952"/>
                <a:gd name="connsiteY23" fmla="*/ 2952750 h 3335255"/>
                <a:gd name="connsiteX24" fmla="*/ 267052 w 7848952"/>
                <a:gd name="connsiteY24" fmla="*/ 2914650 h 3335255"/>
                <a:gd name="connsiteX25" fmla="*/ 238477 w 7848952"/>
                <a:gd name="connsiteY25" fmla="*/ 2905125 h 3335255"/>
                <a:gd name="connsiteX26" fmla="*/ 171802 w 7848952"/>
                <a:gd name="connsiteY26" fmla="*/ 2857500 h 3335255"/>
                <a:gd name="connsiteX27" fmla="*/ 143227 w 7848952"/>
                <a:gd name="connsiteY27" fmla="*/ 2847975 h 3335255"/>
                <a:gd name="connsiteX28" fmla="*/ 9877 w 7848952"/>
                <a:gd name="connsiteY28" fmla="*/ 2752725 h 3335255"/>
                <a:gd name="connsiteX29" fmla="*/ 9877 w 7848952"/>
                <a:gd name="connsiteY29" fmla="*/ 2743200 h 3335255"/>
                <a:gd name="connsiteX30" fmla="*/ 19402 w 7848952"/>
                <a:gd name="connsiteY30" fmla="*/ 0 h 3335255"/>
                <a:gd name="connsiteX31" fmla="*/ 19402 w 7848952"/>
                <a:gd name="connsiteY31" fmla="*/ 0 h 3335255"/>
                <a:gd name="connsiteX32" fmla="*/ 19402 w 7848952"/>
                <a:gd name="connsiteY32" fmla="*/ 0 h 3335255"/>
                <a:gd name="connsiteX0" fmla="*/ 86077 w 7848952"/>
                <a:gd name="connsiteY0" fmla="*/ 0 h 3335255"/>
                <a:gd name="connsiteX1" fmla="*/ 7848952 w 7848952"/>
                <a:gd name="connsiteY1" fmla="*/ 0 h 3335255"/>
                <a:gd name="connsiteX2" fmla="*/ 6382102 w 7848952"/>
                <a:gd name="connsiteY2" fmla="*/ 1628775 h 3335255"/>
                <a:gd name="connsiteX3" fmla="*/ 5248627 w 7848952"/>
                <a:gd name="connsiteY3" fmla="*/ 1628775 h 3335255"/>
                <a:gd name="connsiteX4" fmla="*/ 4591402 w 7848952"/>
                <a:gd name="connsiteY4" fmla="*/ 2390775 h 3335255"/>
                <a:gd name="connsiteX5" fmla="*/ 2038702 w 7848952"/>
                <a:gd name="connsiteY5" fmla="*/ 3267075 h 3335255"/>
                <a:gd name="connsiteX6" fmla="*/ 1981552 w 7848952"/>
                <a:gd name="connsiteY6" fmla="*/ 3276600 h 3335255"/>
                <a:gd name="connsiteX7" fmla="*/ 1686277 w 7848952"/>
                <a:gd name="connsiteY7" fmla="*/ 3267075 h 3335255"/>
                <a:gd name="connsiteX8" fmla="*/ 1552927 w 7848952"/>
                <a:gd name="connsiteY8" fmla="*/ 3248025 h 3335255"/>
                <a:gd name="connsiteX9" fmla="*/ 1495777 w 7848952"/>
                <a:gd name="connsiteY9" fmla="*/ 3228975 h 3335255"/>
                <a:gd name="connsiteX10" fmla="*/ 1371952 w 7848952"/>
                <a:gd name="connsiteY10" fmla="*/ 3219450 h 3335255"/>
                <a:gd name="connsiteX11" fmla="*/ 1295752 w 7848952"/>
                <a:gd name="connsiteY11" fmla="*/ 3200400 h 3335255"/>
                <a:gd name="connsiteX12" fmla="*/ 1219552 w 7848952"/>
                <a:gd name="connsiteY12" fmla="*/ 3171825 h 3335255"/>
                <a:gd name="connsiteX13" fmla="*/ 1124302 w 7848952"/>
                <a:gd name="connsiteY13" fmla="*/ 3143250 h 3335255"/>
                <a:gd name="connsiteX14" fmla="*/ 1067152 w 7848952"/>
                <a:gd name="connsiteY14" fmla="*/ 3114675 h 3335255"/>
                <a:gd name="connsiteX15" fmla="*/ 1038577 w 7848952"/>
                <a:gd name="connsiteY15" fmla="*/ 3095625 h 3335255"/>
                <a:gd name="connsiteX16" fmla="*/ 857602 w 7848952"/>
                <a:gd name="connsiteY16" fmla="*/ 3086100 h 3335255"/>
                <a:gd name="connsiteX17" fmla="*/ 829027 w 7848952"/>
                <a:gd name="connsiteY17" fmla="*/ 3076575 h 3335255"/>
                <a:gd name="connsiteX18" fmla="*/ 629002 w 7848952"/>
                <a:gd name="connsiteY18" fmla="*/ 3057525 h 3335255"/>
                <a:gd name="connsiteX19" fmla="*/ 533752 w 7848952"/>
                <a:gd name="connsiteY19" fmla="*/ 3028950 h 3335255"/>
                <a:gd name="connsiteX20" fmla="*/ 505177 w 7848952"/>
                <a:gd name="connsiteY20" fmla="*/ 3019425 h 3335255"/>
                <a:gd name="connsiteX21" fmla="*/ 476602 w 7848952"/>
                <a:gd name="connsiteY21" fmla="*/ 3009900 h 3335255"/>
                <a:gd name="connsiteX22" fmla="*/ 409927 w 7848952"/>
                <a:gd name="connsiteY22" fmla="*/ 2971800 h 3335255"/>
                <a:gd name="connsiteX23" fmla="*/ 352777 w 7848952"/>
                <a:gd name="connsiteY23" fmla="*/ 2952750 h 3335255"/>
                <a:gd name="connsiteX24" fmla="*/ 267052 w 7848952"/>
                <a:gd name="connsiteY24" fmla="*/ 2914650 h 3335255"/>
                <a:gd name="connsiteX25" fmla="*/ 238477 w 7848952"/>
                <a:gd name="connsiteY25" fmla="*/ 2905125 h 3335255"/>
                <a:gd name="connsiteX26" fmla="*/ 171802 w 7848952"/>
                <a:gd name="connsiteY26" fmla="*/ 2857500 h 3335255"/>
                <a:gd name="connsiteX27" fmla="*/ 143227 w 7848952"/>
                <a:gd name="connsiteY27" fmla="*/ 2847975 h 3335255"/>
                <a:gd name="connsiteX28" fmla="*/ 9877 w 7848952"/>
                <a:gd name="connsiteY28" fmla="*/ 2752725 h 3335255"/>
                <a:gd name="connsiteX29" fmla="*/ 9877 w 7848952"/>
                <a:gd name="connsiteY29" fmla="*/ 2743200 h 3335255"/>
                <a:gd name="connsiteX30" fmla="*/ 19402 w 7848952"/>
                <a:gd name="connsiteY30" fmla="*/ 0 h 3335255"/>
                <a:gd name="connsiteX31" fmla="*/ 19402 w 7848952"/>
                <a:gd name="connsiteY31" fmla="*/ 0 h 3335255"/>
                <a:gd name="connsiteX32" fmla="*/ 19402 w 7848952"/>
                <a:gd name="connsiteY32" fmla="*/ 0 h 3335255"/>
                <a:gd name="connsiteX0" fmla="*/ 88194 w 7851069"/>
                <a:gd name="connsiteY0" fmla="*/ 0 h 3335255"/>
                <a:gd name="connsiteX1" fmla="*/ 7851069 w 7851069"/>
                <a:gd name="connsiteY1" fmla="*/ 0 h 3335255"/>
                <a:gd name="connsiteX2" fmla="*/ 6384219 w 7851069"/>
                <a:gd name="connsiteY2" fmla="*/ 1628775 h 3335255"/>
                <a:gd name="connsiteX3" fmla="*/ 5250744 w 7851069"/>
                <a:gd name="connsiteY3" fmla="*/ 1628775 h 3335255"/>
                <a:gd name="connsiteX4" fmla="*/ 4593519 w 7851069"/>
                <a:gd name="connsiteY4" fmla="*/ 2390775 h 3335255"/>
                <a:gd name="connsiteX5" fmla="*/ 2040819 w 7851069"/>
                <a:gd name="connsiteY5" fmla="*/ 3267075 h 3335255"/>
                <a:gd name="connsiteX6" fmla="*/ 1983669 w 7851069"/>
                <a:gd name="connsiteY6" fmla="*/ 3276600 h 3335255"/>
                <a:gd name="connsiteX7" fmla="*/ 1688394 w 7851069"/>
                <a:gd name="connsiteY7" fmla="*/ 3267075 h 3335255"/>
                <a:gd name="connsiteX8" fmla="*/ 1555044 w 7851069"/>
                <a:gd name="connsiteY8" fmla="*/ 3248025 h 3335255"/>
                <a:gd name="connsiteX9" fmla="*/ 1497894 w 7851069"/>
                <a:gd name="connsiteY9" fmla="*/ 3228975 h 3335255"/>
                <a:gd name="connsiteX10" fmla="*/ 1374069 w 7851069"/>
                <a:gd name="connsiteY10" fmla="*/ 3219450 h 3335255"/>
                <a:gd name="connsiteX11" fmla="*/ 1297869 w 7851069"/>
                <a:gd name="connsiteY11" fmla="*/ 3200400 h 3335255"/>
                <a:gd name="connsiteX12" fmla="*/ 1221669 w 7851069"/>
                <a:gd name="connsiteY12" fmla="*/ 3171825 h 3335255"/>
                <a:gd name="connsiteX13" fmla="*/ 1126419 w 7851069"/>
                <a:gd name="connsiteY13" fmla="*/ 3143250 h 3335255"/>
                <a:gd name="connsiteX14" fmla="*/ 1069269 w 7851069"/>
                <a:gd name="connsiteY14" fmla="*/ 3114675 h 3335255"/>
                <a:gd name="connsiteX15" fmla="*/ 1040694 w 7851069"/>
                <a:gd name="connsiteY15" fmla="*/ 3095625 h 3335255"/>
                <a:gd name="connsiteX16" fmla="*/ 859719 w 7851069"/>
                <a:gd name="connsiteY16" fmla="*/ 3086100 h 3335255"/>
                <a:gd name="connsiteX17" fmla="*/ 831144 w 7851069"/>
                <a:gd name="connsiteY17" fmla="*/ 3076575 h 3335255"/>
                <a:gd name="connsiteX18" fmla="*/ 631119 w 7851069"/>
                <a:gd name="connsiteY18" fmla="*/ 3057525 h 3335255"/>
                <a:gd name="connsiteX19" fmla="*/ 535869 w 7851069"/>
                <a:gd name="connsiteY19" fmla="*/ 3028950 h 3335255"/>
                <a:gd name="connsiteX20" fmla="*/ 507294 w 7851069"/>
                <a:gd name="connsiteY20" fmla="*/ 3019425 h 3335255"/>
                <a:gd name="connsiteX21" fmla="*/ 478719 w 7851069"/>
                <a:gd name="connsiteY21" fmla="*/ 3009900 h 3335255"/>
                <a:gd name="connsiteX22" fmla="*/ 412044 w 7851069"/>
                <a:gd name="connsiteY22" fmla="*/ 2971800 h 3335255"/>
                <a:gd name="connsiteX23" fmla="*/ 354894 w 7851069"/>
                <a:gd name="connsiteY23" fmla="*/ 2952750 h 3335255"/>
                <a:gd name="connsiteX24" fmla="*/ 269169 w 7851069"/>
                <a:gd name="connsiteY24" fmla="*/ 2914650 h 3335255"/>
                <a:gd name="connsiteX25" fmla="*/ 240594 w 7851069"/>
                <a:gd name="connsiteY25" fmla="*/ 2905125 h 3335255"/>
                <a:gd name="connsiteX26" fmla="*/ 173919 w 7851069"/>
                <a:gd name="connsiteY26" fmla="*/ 2857500 h 3335255"/>
                <a:gd name="connsiteX27" fmla="*/ 11994 w 7851069"/>
                <a:gd name="connsiteY27" fmla="*/ 2752725 h 3335255"/>
                <a:gd name="connsiteX28" fmla="*/ 11994 w 7851069"/>
                <a:gd name="connsiteY28" fmla="*/ 2743200 h 3335255"/>
                <a:gd name="connsiteX29" fmla="*/ 21519 w 7851069"/>
                <a:gd name="connsiteY29" fmla="*/ 0 h 3335255"/>
                <a:gd name="connsiteX30" fmla="*/ 21519 w 7851069"/>
                <a:gd name="connsiteY30" fmla="*/ 0 h 3335255"/>
                <a:gd name="connsiteX31" fmla="*/ 21519 w 7851069"/>
                <a:gd name="connsiteY31" fmla="*/ 0 h 3335255"/>
                <a:gd name="connsiteX0" fmla="*/ 88194 w 7851069"/>
                <a:gd name="connsiteY0" fmla="*/ 0 h 3335255"/>
                <a:gd name="connsiteX1" fmla="*/ 7851069 w 7851069"/>
                <a:gd name="connsiteY1" fmla="*/ 0 h 3335255"/>
                <a:gd name="connsiteX2" fmla="*/ 6384219 w 7851069"/>
                <a:gd name="connsiteY2" fmla="*/ 1628775 h 3335255"/>
                <a:gd name="connsiteX3" fmla="*/ 5250744 w 7851069"/>
                <a:gd name="connsiteY3" fmla="*/ 1628775 h 3335255"/>
                <a:gd name="connsiteX4" fmla="*/ 4593519 w 7851069"/>
                <a:gd name="connsiteY4" fmla="*/ 2390775 h 3335255"/>
                <a:gd name="connsiteX5" fmla="*/ 2040819 w 7851069"/>
                <a:gd name="connsiteY5" fmla="*/ 3267075 h 3335255"/>
                <a:gd name="connsiteX6" fmla="*/ 1983669 w 7851069"/>
                <a:gd name="connsiteY6" fmla="*/ 3276600 h 3335255"/>
                <a:gd name="connsiteX7" fmla="*/ 1688394 w 7851069"/>
                <a:gd name="connsiteY7" fmla="*/ 3267075 h 3335255"/>
                <a:gd name="connsiteX8" fmla="*/ 1555044 w 7851069"/>
                <a:gd name="connsiteY8" fmla="*/ 3248025 h 3335255"/>
                <a:gd name="connsiteX9" fmla="*/ 1497894 w 7851069"/>
                <a:gd name="connsiteY9" fmla="*/ 3228975 h 3335255"/>
                <a:gd name="connsiteX10" fmla="*/ 1374069 w 7851069"/>
                <a:gd name="connsiteY10" fmla="*/ 3219450 h 3335255"/>
                <a:gd name="connsiteX11" fmla="*/ 1297869 w 7851069"/>
                <a:gd name="connsiteY11" fmla="*/ 3200400 h 3335255"/>
                <a:gd name="connsiteX12" fmla="*/ 1221669 w 7851069"/>
                <a:gd name="connsiteY12" fmla="*/ 3171825 h 3335255"/>
                <a:gd name="connsiteX13" fmla="*/ 1126419 w 7851069"/>
                <a:gd name="connsiteY13" fmla="*/ 3143250 h 3335255"/>
                <a:gd name="connsiteX14" fmla="*/ 1069269 w 7851069"/>
                <a:gd name="connsiteY14" fmla="*/ 3114675 h 3335255"/>
                <a:gd name="connsiteX15" fmla="*/ 1040694 w 7851069"/>
                <a:gd name="connsiteY15" fmla="*/ 3095625 h 3335255"/>
                <a:gd name="connsiteX16" fmla="*/ 859719 w 7851069"/>
                <a:gd name="connsiteY16" fmla="*/ 3086100 h 3335255"/>
                <a:gd name="connsiteX17" fmla="*/ 831144 w 7851069"/>
                <a:gd name="connsiteY17" fmla="*/ 3076575 h 3335255"/>
                <a:gd name="connsiteX18" fmla="*/ 631119 w 7851069"/>
                <a:gd name="connsiteY18" fmla="*/ 3057525 h 3335255"/>
                <a:gd name="connsiteX19" fmla="*/ 535869 w 7851069"/>
                <a:gd name="connsiteY19" fmla="*/ 3028950 h 3335255"/>
                <a:gd name="connsiteX20" fmla="*/ 507294 w 7851069"/>
                <a:gd name="connsiteY20" fmla="*/ 3019425 h 3335255"/>
                <a:gd name="connsiteX21" fmla="*/ 478719 w 7851069"/>
                <a:gd name="connsiteY21" fmla="*/ 3009900 h 3335255"/>
                <a:gd name="connsiteX22" fmla="*/ 412044 w 7851069"/>
                <a:gd name="connsiteY22" fmla="*/ 2971800 h 3335255"/>
                <a:gd name="connsiteX23" fmla="*/ 354894 w 7851069"/>
                <a:gd name="connsiteY23" fmla="*/ 2952750 h 3335255"/>
                <a:gd name="connsiteX24" fmla="*/ 269169 w 7851069"/>
                <a:gd name="connsiteY24" fmla="*/ 2914650 h 3335255"/>
                <a:gd name="connsiteX25" fmla="*/ 173919 w 7851069"/>
                <a:gd name="connsiteY25" fmla="*/ 2857500 h 3335255"/>
                <a:gd name="connsiteX26" fmla="*/ 11994 w 7851069"/>
                <a:gd name="connsiteY26" fmla="*/ 2752725 h 3335255"/>
                <a:gd name="connsiteX27" fmla="*/ 11994 w 7851069"/>
                <a:gd name="connsiteY27" fmla="*/ 2743200 h 3335255"/>
                <a:gd name="connsiteX28" fmla="*/ 21519 w 7851069"/>
                <a:gd name="connsiteY28" fmla="*/ 0 h 3335255"/>
                <a:gd name="connsiteX29" fmla="*/ 21519 w 7851069"/>
                <a:gd name="connsiteY29" fmla="*/ 0 h 3335255"/>
                <a:gd name="connsiteX30" fmla="*/ 21519 w 7851069"/>
                <a:gd name="connsiteY30" fmla="*/ 0 h 3335255"/>
                <a:gd name="connsiteX0" fmla="*/ 95249 w 7858124"/>
                <a:gd name="connsiteY0" fmla="*/ 0 h 3335255"/>
                <a:gd name="connsiteX1" fmla="*/ 7858124 w 7858124"/>
                <a:gd name="connsiteY1" fmla="*/ 0 h 3335255"/>
                <a:gd name="connsiteX2" fmla="*/ 6391274 w 7858124"/>
                <a:gd name="connsiteY2" fmla="*/ 1628775 h 3335255"/>
                <a:gd name="connsiteX3" fmla="*/ 5257799 w 7858124"/>
                <a:gd name="connsiteY3" fmla="*/ 1628775 h 3335255"/>
                <a:gd name="connsiteX4" fmla="*/ 4600574 w 7858124"/>
                <a:gd name="connsiteY4" fmla="*/ 2390775 h 3335255"/>
                <a:gd name="connsiteX5" fmla="*/ 2047874 w 7858124"/>
                <a:gd name="connsiteY5" fmla="*/ 3267075 h 3335255"/>
                <a:gd name="connsiteX6" fmla="*/ 1990724 w 7858124"/>
                <a:gd name="connsiteY6" fmla="*/ 3276600 h 3335255"/>
                <a:gd name="connsiteX7" fmla="*/ 1695449 w 7858124"/>
                <a:gd name="connsiteY7" fmla="*/ 3267075 h 3335255"/>
                <a:gd name="connsiteX8" fmla="*/ 1562099 w 7858124"/>
                <a:gd name="connsiteY8" fmla="*/ 3248025 h 3335255"/>
                <a:gd name="connsiteX9" fmla="*/ 1504949 w 7858124"/>
                <a:gd name="connsiteY9" fmla="*/ 3228975 h 3335255"/>
                <a:gd name="connsiteX10" fmla="*/ 1381124 w 7858124"/>
                <a:gd name="connsiteY10" fmla="*/ 3219450 h 3335255"/>
                <a:gd name="connsiteX11" fmla="*/ 1304924 w 7858124"/>
                <a:gd name="connsiteY11" fmla="*/ 3200400 h 3335255"/>
                <a:gd name="connsiteX12" fmla="*/ 1228724 w 7858124"/>
                <a:gd name="connsiteY12" fmla="*/ 3171825 h 3335255"/>
                <a:gd name="connsiteX13" fmla="*/ 1133474 w 7858124"/>
                <a:gd name="connsiteY13" fmla="*/ 3143250 h 3335255"/>
                <a:gd name="connsiteX14" fmla="*/ 1076324 w 7858124"/>
                <a:gd name="connsiteY14" fmla="*/ 3114675 h 3335255"/>
                <a:gd name="connsiteX15" fmla="*/ 1047749 w 7858124"/>
                <a:gd name="connsiteY15" fmla="*/ 3095625 h 3335255"/>
                <a:gd name="connsiteX16" fmla="*/ 866774 w 7858124"/>
                <a:gd name="connsiteY16" fmla="*/ 3086100 h 3335255"/>
                <a:gd name="connsiteX17" fmla="*/ 838199 w 7858124"/>
                <a:gd name="connsiteY17" fmla="*/ 3076575 h 3335255"/>
                <a:gd name="connsiteX18" fmla="*/ 638174 w 7858124"/>
                <a:gd name="connsiteY18" fmla="*/ 3057525 h 3335255"/>
                <a:gd name="connsiteX19" fmla="*/ 542924 w 7858124"/>
                <a:gd name="connsiteY19" fmla="*/ 3028950 h 3335255"/>
                <a:gd name="connsiteX20" fmla="*/ 514349 w 7858124"/>
                <a:gd name="connsiteY20" fmla="*/ 3019425 h 3335255"/>
                <a:gd name="connsiteX21" fmla="*/ 485774 w 7858124"/>
                <a:gd name="connsiteY21" fmla="*/ 3009900 h 3335255"/>
                <a:gd name="connsiteX22" fmla="*/ 419099 w 7858124"/>
                <a:gd name="connsiteY22" fmla="*/ 2971800 h 3335255"/>
                <a:gd name="connsiteX23" fmla="*/ 361949 w 7858124"/>
                <a:gd name="connsiteY23" fmla="*/ 2952750 h 3335255"/>
                <a:gd name="connsiteX24" fmla="*/ 276224 w 7858124"/>
                <a:gd name="connsiteY24" fmla="*/ 2914650 h 3335255"/>
                <a:gd name="connsiteX25" fmla="*/ 19049 w 7858124"/>
                <a:gd name="connsiteY25" fmla="*/ 2752725 h 3335255"/>
                <a:gd name="connsiteX26" fmla="*/ 19049 w 7858124"/>
                <a:gd name="connsiteY26" fmla="*/ 2743200 h 3335255"/>
                <a:gd name="connsiteX27" fmla="*/ 28574 w 7858124"/>
                <a:gd name="connsiteY27" fmla="*/ 0 h 3335255"/>
                <a:gd name="connsiteX28" fmla="*/ 28574 w 7858124"/>
                <a:gd name="connsiteY28" fmla="*/ 0 h 3335255"/>
                <a:gd name="connsiteX29" fmla="*/ 28574 w 7858124"/>
                <a:gd name="connsiteY29" fmla="*/ 0 h 3335255"/>
                <a:gd name="connsiteX0" fmla="*/ 101600 w 7864475"/>
                <a:gd name="connsiteY0" fmla="*/ 0 h 3335255"/>
                <a:gd name="connsiteX1" fmla="*/ 7864475 w 7864475"/>
                <a:gd name="connsiteY1" fmla="*/ 0 h 3335255"/>
                <a:gd name="connsiteX2" fmla="*/ 6397625 w 7864475"/>
                <a:gd name="connsiteY2" fmla="*/ 1628775 h 3335255"/>
                <a:gd name="connsiteX3" fmla="*/ 5264150 w 7864475"/>
                <a:gd name="connsiteY3" fmla="*/ 1628775 h 3335255"/>
                <a:gd name="connsiteX4" fmla="*/ 4606925 w 7864475"/>
                <a:gd name="connsiteY4" fmla="*/ 2390775 h 3335255"/>
                <a:gd name="connsiteX5" fmla="*/ 2054225 w 7864475"/>
                <a:gd name="connsiteY5" fmla="*/ 3267075 h 3335255"/>
                <a:gd name="connsiteX6" fmla="*/ 1997075 w 7864475"/>
                <a:gd name="connsiteY6" fmla="*/ 3276600 h 3335255"/>
                <a:gd name="connsiteX7" fmla="*/ 1701800 w 7864475"/>
                <a:gd name="connsiteY7" fmla="*/ 3267075 h 3335255"/>
                <a:gd name="connsiteX8" fmla="*/ 1568450 w 7864475"/>
                <a:gd name="connsiteY8" fmla="*/ 3248025 h 3335255"/>
                <a:gd name="connsiteX9" fmla="*/ 1511300 w 7864475"/>
                <a:gd name="connsiteY9" fmla="*/ 3228975 h 3335255"/>
                <a:gd name="connsiteX10" fmla="*/ 1387475 w 7864475"/>
                <a:gd name="connsiteY10" fmla="*/ 3219450 h 3335255"/>
                <a:gd name="connsiteX11" fmla="*/ 1311275 w 7864475"/>
                <a:gd name="connsiteY11" fmla="*/ 3200400 h 3335255"/>
                <a:gd name="connsiteX12" fmla="*/ 1235075 w 7864475"/>
                <a:gd name="connsiteY12" fmla="*/ 3171825 h 3335255"/>
                <a:gd name="connsiteX13" fmla="*/ 1139825 w 7864475"/>
                <a:gd name="connsiteY13" fmla="*/ 3143250 h 3335255"/>
                <a:gd name="connsiteX14" fmla="*/ 1082675 w 7864475"/>
                <a:gd name="connsiteY14" fmla="*/ 3114675 h 3335255"/>
                <a:gd name="connsiteX15" fmla="*/ 1054100 w 7864475"/>
                <a:gd name="connsiteY15" fmla="*/ 3095625 h 3335255"/>
                <a:gd name="connsiteX16" fmla="*/ 873125 w 7864475"/>
                <a:gd name="connsiteY16" fmla="*/ 3086100 h 3335255"/>
                <a:gd name="connsiteX17" fmla="*/ 844550 w 7864475"/>
                <a:gd name="connsiteY17" fmla="*/ 3076575 h 3335255"/>
                <a:gd name="connsiteX18" fmla="*/ 644525 w 7864475"/>
                <a:gd name="connsiteY18" fmla="*/ 3057525 h 3335255"/>
                <a:gd name="connsiteX19" fmla="*/ 549275 w 7864475"/>
                <a:gd name="connsiteY19" fmla="*/ 3028950 h 3335255"/>
                <a:gd name="connsiteX20" fmla="*/ 520700 w 7864475"/>
                <a:gd name="connsiteY20" fmla="*/ 3019425 h 3335255"/>
                <a:gd name="connsiteX21" fmla="*/ 492125 w 7864475"/>
                <a:gd name="connsiteY21" fmla="*/ 3009900 h 3335255"/>
                <a:gd name="connsiteX22" fmla="*/ 425450 w 7864475"/>
                <a:gd name="connsiteY22" fmla="*/ 2971800 h 3335255"/>
                <a:gd name="connsiteX23" fmla="*/ 368300 w 7864475"/>
                <a:gd name="connsiteY23" fmla="*/ 2952750 h 3335255"/>
                <a:gd name="connsiteX24" fmla="*/ 25400 w 7864475"/>
                <a:gd name="connsiteY24" fmla="*/ 2752725 h 3335255"/>
                <a:gd name="connsiteX25" fmla="*/ 25400 w 7864475"/>
                <a:gd name="connsiteY25" fmla="*/ 2743200 h 3335255"/>
                <a:gd name="connsiteX26" fmla="*/ 34925 w 7864475"/>
                <a:gd name="connsiteY26" fmla="*/ 0 h 3335255"/>
                <a:gd name="connsiteX27" fmla="*/ 34925 w 7864475"/>
                <a:gd name="connsiteY27" fmla="*/ 0 h 3335255"/>
                <a:gd name="connsiteX28" fmla="*/ 34925 w 7864475"/>
                <a:gd name="connsiteY28" fmla="*/ 0 h 3335255"/>
                <a:gd name="connsiteX0" fmla="*/ 101600 w 7864475"/>
                <a:gd name="connsiteY0" fmla="*/ 0 h 3332697"/>
                <a:gd name="connsiteX1" fmla="*/ 7864475 w 7864475"/>
                <a:gd name="connsiteY1" fmla="*/ 0 h 3332697"/>
                <a:gd name="connsiteX2" fmla="*/ 6397625 w 7864475"/>
                <a:gd name="connsiteY2" fmla="*/ 1628775 h 3332697"/>
                <a:gd name="connsiteX3" fmla="*/ 5264150 w 7864475"/>
                <a:gd name="connsiteY3" fmla="*/ 1628775 h 3332697"/>
                <a:gd name="connsiteX4" fmla="*/ 4606925 w 7864475"/>
                <a:gd name="connsiteY4" fmla="*/ 2390775 h 3332697"/>
                <a:gd name="connsiteX5" fmla="*/ 2054225 w 7864475"/>
                <a:gd name="connsiteY5" fmla="*/ 3267075 h 3332697"/>
                <a:gd name="connsiteX6" fmla="*/ 1701800 w 7864475"/>
                <a:gd name="connsiteY6" fmla="*/ 3267075 h 3332697"/>
                <a:gd name="connsiteX7" fmla="*/ 1568450 w 7864475"/>
                <a:gd name="connsiteY7" fmla="*/ 3248025 h 3332697"/>
                <a:gd name="connsiteX8" fmla="*/ 1511300 w 7864475"/>
                <a:gd name="connsiteY8" fmla="*/ 3228975 h 3332697"/>
                <a:gd name="connsiteX9" fmla="*/ 1387475 w 7864475"/>
                <a:gd name="connsiteY9" fmla="*/ 3219450 h 3332697"/>
                <a:gd name="connsiteX10" fmla="*/ 1311275 w 7864475"/>
                <a:gd name="connsiteY10" fmla="*/ 3200400 h 3332697"/>
                <a:gd name="connsiteX11" fmla="*/ 1235075 w 7864475"/>
                <a:gd name="connsiteY11" fmla="*/ 3171825 h 3332697"/>
                <a:gd name="connsiteX12" fmla="*/ 1139825 w 7864475"/>
                <a:gd name="connsiteY12" fmla="*/ 3143250 h 3332697"/>
                <a:gd name="connsiteX13" fmla="*/ 1082675 w 7864475"/>
                <a:gd name="connsiteY13" fmla="*/ 3114675 h 3332697"/>
                <a:gd name="connsiteX14" fmla="*/ 1054100 w 7864475"/>
                <a:gd name="connsiteY14" fmla="*/ 3095625 h 3332697"/>
                <a:gd name="connsiteX15" fmla="*/ 873125 w 7864475"/>
                <a:gd name="connsiteY15" fmla="*/ 3086100 h 3332697"/>
                <a:gd name="connsiteX16" fmla="*/ 844550 w 7864475"/>
                <a:gd name="connsiteY16" fmla="*/ 3076575 h 3332697"/>
                <a:gd name="connsiteX17" fmla="*/ 644525 w 7864475"/>
                <a:gd name="connsiteY17" fmla="*/ 3057525 h 3332697"/>
                <a:gd name="connsiteX18" fmla="*/ 549275 w 7864475"/>
                <a:gd name="connsiteY18" fmla="*/ 3028950 h 3332697"/>
                <a:gd name="connsiteX19" fmla="*/ 520700 w 7864475"/>
                <a:gd name="connsiteY19" fmla="*/ 3019425 h 3332697"/>
                <a:gd name="connsiteX20" fmla="*/ 492125 w 7864475"/>
                <a:gd name="connsiteY20" fmla="*/ 3009900 h 3332697"/>
                <a:gd name="connsiteX21" fmla="*/ 425450 w 7864475"/>
                <a:gd name="connsiteY21" fmla="*/ 2971800 h 3332697"/>
                <a:gd name="connsiteX22" fmla="*/ 368300 w 7864475"/>
                <a:gd name="connsiteY22" fmla="*/ 2952750 h 3332697"/>
                <a:gd name="connsiteX23" fmla="*/ 25400 w 7864475"/>
                <a:gd name="connsiteY23" fmla="*/ 2752725 h 3332697"/>
                <a:gd name="connsiteX24" fmla="*/ 25400 w 7864475"/>
                <a:gd name="connsiteY24" fmla="*/ 2743200 h 3332697"/>
                <a:gd name="connsiteX25" fmla="*/ 34925 w 7864475"/>
                <a:gd name="connsiteY25" fmla="*/ 0 h 3332697"/>
                <a:gd name="connsiteX26" fmla="*/ 34925 w 7864475"/>
                <a:gd name="connsiteY26" fmla="*/ 0 h 3332697"/>
                <a:gd name="connsiteX27" fmla="*/ 34925 w 7864475"/>
                <a:gd name="connsiteY27" fmla="*/ 0 h 3332697"/>
                <a:gd name="connsiteX0" fmla="*/ 101600 w 7864475"/>
                <a:gd name="connsiteY0" fmla="*/ 0 h 3327245"/>
                <a:gd name="connsiteX1" fmla="*/ 7864475 w 7864475"/>
                <a:gd name="connsiteY1" fmla="*/ 0 h 3327245"/>
                <a:gd name="connsiteX2" fmla="*/ 6397625 w 7864475"/>
                <a:gd name="connsiteY2" fmla="*/ 1628775 h 3327245"/>
                <a:gd name="connsiteX3" fmla="*/ 5264150 w 7864475"/>
                <a:gd name="connsiteY3" fmla="*/ 1628775 h 3327245"/>
                <a:gd name="connsiteX4" fmla="*/ 4606925 w 7864475"/>
                <a:gd name="connsiteY4" fmla="*/ 2390775 h 3327245"/>
                <a:gd name="connsiteX5" fmla="*/ 2054225 w 7864475"/>
                <a:gd name="connsiteY5" fmla="*/ 3267075 h 3327245"/>
                <a:gd name="connsiteX6" fmla="*/ 1568450 w 7864475"/>
                <a:gd name="connsiteY6" fmla="*/ 3248025 h 3327245"/>
                <a:gd name="connsiteX7" fmla="*/ 1511300 w 7864475"/>
                <a:gd name="connsiteY7" fmla="*/ 3228975 h 3327245"/>
                <a:gd name="connsiteX8" fmla="*/ 1387475 w 7864475"/>
                <a:gd name="connsiteY8" fmla="*/ 3219450 h 3327245"/>
                <a:gd name="connsiteX9" fmla="*/ 1311275 w 7864475"/>
                <a:gd name="connsiteY9" fmla="*/ 3200400 h 3327245"/>
                <a:gd name="connsiteX10" fmla="*/ 1235075 w 7864475"/>
                <a:gd name="connsiteY10" fmla="*/ 3171825 h 3327245"/>
                <a:gd name="connsiteX11" fmla="*/ 1139825 w 7864475"/>
                <a:gd name="connsiteY11" fmla="*/ 3143250 h 3327245"/>
                <a:gd name="connsiteX12" fmla="*/ 1082675 w 7864475"/>
                <a:gd name="connsiteY12" fmla="*/ 3114675 h 3327245"/>
                <a:gd name="connsiteX13" fmla="*/ 1054100 w 7864475"/>
                <a:gd name="connsiteY13" fmla="*/ 3095625 h 3327245"/>
                <a:gd name="connsiteX14" fmla="*/ 873125 w 7864475"/>
                <a:gd name="connsiteY14" fmla="*/ 3086100 h 3327245"/>
                <a:gd name="connsiteX15" fmla="*/ 844550 w 7864475"/>
                <a:gd name="connsiteY15" fmla="*/ 3076575 h 3327245"/>
                <a:gd name="connsiteX16" fmla="*/ 644525 w 7864475"/>
                <a:gd name="connsiteY16" fmla="*/ 3057525 h 3327245"/>
                <a:gd name="connsiteX17" fmla="*/ 549275 w 7864475"/>
                <a:gd name="connsiteY17" fmla="*/ 3028950 h 3327245"/>
                <a:gd name="connsiteX18" fmla="*/ 520700 w 7864475"/>
                <a:gd name="connsiteY18" fmla="*/ 3019425 h 3327245"/>
                <a:gd name="connsiteX19" fmla="*/ 492125 w 7864475"/>
                <a:gd name="connsiteY19" fmla="*/ 3009900 h 3327245"/>
                <a:gd name="connsiteX20" fmla="*/ 425450 w 7864475"/>
                <a:gd name="connsiteY20" fmla="*/ 2971800 h 3327245"/>
                <a:gd name="connsiteX21" fmla="*/ 368300 w 7864475"/>
                <a:gd name="connsiteY21" fmla="*/ 2952750 h 3327245"/>
                <a:gd name="connsiteX22" fmla="*/ 25400 w 7864475"/>
                <a:gd name="connsiteY22" fmla="*/ 2752725 h 3327245"/>
                <a:gd name="connsiteX23" fmla="*/ 25400 w 7864475"/>
                <a:gd name="connsiteY23" fmla="*/ 2743200 h 3327245"/>
                <a:gd name="connsiteX24" fmla="*/ 34925 w 7864475"/>
                <a:gd name="connsiteY24" fmla="*/ 0 h 3327245"/>
                <a:gd name="connsiteX25" fmla="*/ 34925 w 7864475"/>
                <a:gd name="connsiteY25" fmla="*/ 0 h 3327245"/>
                <a:gd name="connsiteX26" fmla="*/ 34925 w 7864475"/>
                <a:gd name="connsiteY26" fmla="*/ 0 h 3327245"/>
                <a:gd name="connsiteX0" fmla="*/ 101600 w 7864475"/>
                <a:gd name="connsiteY0" fmla="*/ 0 h 3322010"/>
                <a:gd name="connsiteX1" fmla="*/ 7864475 w 7864475"/>
                <a:gd name="connsiteY1" fmla="*/ 0 h 3322010"/>
                <a:gd name="connsiteX2" fmla="*/ 6397625 w 7864475"/>
                <a:gd name="connsiteY2" fmla="*/ 1628775 h 3322010"/>
                <a:gd name="connsiteX3" fmla="*/ 5264150 w 7864475"/>
                <a:gd name="connsiteY3" fmla="*/ 1628775 h 3322010"/>
                <a:gd name="connsiteX4" fmla="*/ 4606925 w 7864475"/>
                <a:gd name="connsiteY4" fmla="*/ 2390775 h 3322010"/>
                <a:gd name="connsiteX5" fmla="*/ 2054225 w 7864475"/>
                <a:gd name="connsiteY5" fmla="*/ 3267075 h 3322010"/>
                <a:gd name="connsiteX6" fmla="*/ 1511300 w 7864475"/>
                <a:gd name="connsiteY6" fmla="*/ 3228975 h 3322010"/>
                <a:gd name="connsiteX7" fmla="*/ 1387475 w 7864475"/>
                <a:gd name="connsiteY7" fmla="*/ 3219450 h 3322010"/>
                <a:gd name="connsiteX8" fmla="*/ 1311275 w 7864475"/>
                <a:gd name="connsiteY8" fmla="*/ 3200400 h 3322010"/>
                <a:gd name="connsiteX9" fmla="*/ 1235075 w 7864475"/>
                <a:gd name="connsiteY9" fmla="*/ 3171825 h 3322010"/>
                <a:gd name="connsiteX10" fmla="*/ 1139825 w 7864475"/>
                <a:gd name="connsiteY10" fmla="*/ 3143250 h 3322010"/>
                <a:gd name="connsiteX11" fmla="*/ 1082675 w 7864475"/>
                <a:gd name="connsiteY11" fmla="*/ 3114675 h 3322010"/>
                <a:gd name="connsiteX12" fmla="*/ 1054100 w 7864475"/>
                <a:gd name="connsiteY12" fmla="*/ 3095625 h 3322010"/>
                <a:gd name="connsiteX13" fmla="*/ 873125 w 7864475"/>
                <a:gd name="connsiteY13" fmla="*/ 3086100 h 3322010"/>
                <a:gd name="connsiteX14" fmla="*/ 844550 w 7864475"/>
                <a:gd name="connsiteY14" fmla="*/ 3076575 h 3322010"/>
                <a:gd name="connsiteX15" fmla="*/ 644525 w 7864475"/>
                <a:gd name="connsiteY15" fmla="*/ 3057525 h 3322010"/>
                <a:gd name="connsiteX16" fmla="*/ 549275 w 7864475"/>
                <a:gd name="connsiteY16" fmla="*/ 3028950 h 3322010"/>
                <a:gd name="connsiteX17" fmla="*/ 520700 w 7864475"/>
                <a:gd name="connsiteY17" fmla="*/ 3019425 h 3322010"/>
                <a:gd name="connsiteX18" fmla="*/ 492125 w 7864475"/>
                <a:gd name="connsiteY18" fmla="*/ 3009900 h 3322010"/>
                <a:gd name="connsiteX19" fmla="*/ 425450 w 7864475"/>
                <a:gd name="connsiteY19" fmla="*/ 2971800 h 3322010"/>
                <a:gd name="connsiteX20" fmla="*/ 368300 w 7864475"/>
                <a:gd name="connsiteY20" fmla="*/ 2952750 h 3322010"/>
                <a:gd name="connsiteX21" fmla="*/ 25400 w 7864475"/>
                <a:gd name="connsiteY21" fmla="*/ 2752725 h 3322010"/>
                <a:gd name="connsiteX22" fmla="*/ 25400 w 7864475"/>
                <a:gd name="connsiteY22" fmla="*/ 2743200 h 3322010"/>
                <a:gd name="connsiteX23" fmla="*/ 34925 w 7864475"/>
                <a:gd name="connsiteY23" fmla="*/ 0 h 3322010"/>
                <a:gd name="connsiteX24" fmla="*/ 34925 w 7864475"/>
                <a:gd name="connsiteY24" fmla="*/ 0 h 3322010"/>
                <a:gd name="connsiteX25" fmla="*/ 34925 w 7864475"/>
                <a:gd name="connsiteY25" fmla="*/ 0 h 3322010"/>
                <a:gd name="connsiteX0" fmla="*/ 101600 w 7864475"/>
                <a:gd name="connsiteY0" fmla="*/ 0 h 3319988"/>
                <a:gd name="connsiteX1" fmla="*/ 7864475 w 7864475"/>
                <a:gd name="connsiteY1" fmla="*/ 0 h 3319988"/>
                <a:gd name="connsiteX2" fmla="*/ 6397625 w 7864475"/>
                <a:gd name="connsiteY2" fmla="*/ 1628775 h 3319988"/>
                <a:gd name="connsiteX3" fmla="*/ 5264150 w 7864475"/>
                <a:gd name="connsiteY3" fmla="*/ 1628775 h 3319988"/>
                <a:gd name="connsiteX4" fmla="*/ 4606925 w 7864475"/>
                <a:gd name="connsiteY4" fmla="*/ 2390775 h 3319988"/>
                <a:gd name="connsiteX5" fmla="*/ 2054225 w 7864475"/>
                <a:gd name="connsiteY5" fmla="*/ 3267075 h 3319988"/>
                <a:gd name="connsiteX6" fmla="*/ 1387475 w 7864475"/>
                <a:gd name="connsiteY6" fmla="*/ 3219450 h 3319988"/>
                <a:gd name="connsiteX7" fmla="*/ 1311275 w 7864475"/>
                <a:gd name="connsiteY7" fmla="*/ 3200400 h 3319988"/>
                <a:gd name="connsiteX8" fmla="*/ 1235075 w 7864475"/>
                <a:gd name="connsiteY8" fmla="*/ 3171825 h 3319988"/>
                <a:gd name="connsiteX9" fmla="*/ 1139825 w 7864475"/>
                <a:gd name="connsiteY9" fmla="*/ 3143250 h 3319988"/>
                <a:gd name="connsiteX10" fmla="*/ 1082675 w 7864475"/>
                <a:gd name="connsiteY10" fmla="*/ 3114675 h 3319988"/>
                <a:gd name="connsiteX11" fmla="*/ 1054100 w 7864475"/>
                <a:gd name="connsiteY11" fmla="*/ 3095625 h 3319988"/>
                <a:gd name="connsiteX12" fmla="*/ 873125 w 7864475"/>
                <a:gd name="connsiteY12" fmla="*/ 3086100 h 3319988"/>
                <a:gd name="connsiteX13" fmla="*/ 844550 w 7864475"/>
                <a:gd name="connsiteY13" fmla="*/ 3076575 h 3319988"/>
                <a:gd name="connsiteX14" fmla="*/ 644525 w 7864475"/>
                <a:gd name="connsiteY14" fmla="*/ 3057525 h 3319988"/>
                <a:gd name="connsiteX15" fmla="*/ 549275 w 7864475"/>
                <a:gd name="connsiteY15" fmla="*/ 3028950 h 3319988"/>
                <a:gd name="connsiteX16" fmla="*/ 520700 w 7864475"/>
                <a:gd name="connsiteY16" fmla="*/ 3019425 h 3319988"/>
                <a:gd name="connsiteX17" fmla="*/ 492125 w 7864475"/>
                <a:gd name="connsiteY17" fmla="*/ 3009900 h 3319988"/>
                <a:gd name="connsiteX18" fmla="*/ 425450 w 7864475"/>
                <a:gd name="connsiteY18" fmla="*/ 2971800 h 3319988"/>
                <a:gd name="connsiteX19" fmla="*/ 368300 w 7864475"/>
                <a:gd name="connsiteY19" fmla="*/ 2952750 h 3319988"/>
                <a:gd name="connsiteX20" fmla="*/ 25400 w 7864475"/>
                <a:gd name="connsiteY20" fmla="*/ 2752725 h 3319988"/>
                <a:gd name="connsiteX21" fmla="*/ 25400 w 7864475"/>
                <a:gd name="connsiteY21" fmla="*/ 2743200 h 3319988"/>
                <a:gd name="connsiteX22" fmla="*/ 34925 w 7864475"/>
                <a:gd name="connsiteY22" fmla="*/ 0 h 3319988"/>
                <a:gd name="connsiteX23" fmla="*/ 34925 w 7864475"/>
                <a:gd name="connsiteY23" fmla="*/ 0 h 3319988"/>
                <a:gd name="connsiteX24" fmla="*/ 34925 w 7864475"/>
                <a:gd name="connsiteY24" fmla="*/ 0 h 3319988"/>
                <a:gd name="connsiteX0" fmla="*/ 101600 w 7864475"/>
                <a:gd name="connsiteY0" fmla="*/ 0 h 3319988"/>
                <a:gd name="connsiteX1" fmla="*/ 7864475 w 7864475"/>
                <a:gd name="connsiteY1" fmla="*/ 0 h 3319988"/>
                <a:gd name="connsiteX2" fmla="*/ 6397625 w 7864475"/>
                <a:gd name="connsiteY2" fmla="*/ 1628775 h 3319988"/>
                <a:gd name="connsiteX3" fmla="*/ 5264150 w 7864475"/>
                <a:gd name="connsiteY3" fmla="*/ 1628775 h 3319988"/>
                <a:gd name="connsiteX4" fmla="*/ 4606925 w 7864475"/>
                <a:gd name="connsiteY4" fmla="*/ 2390775 h 3319988"/>
                <a:gd name="connsiteX5" fmla="*/ 2054225 w 7864475"/>
                <a:gd name="connsiteY5" fmla="*/ 3267075 h 3319988"/>
                <a:gd name="connsiteX6" fmla="*/ 1387475 w 7864475"/>
                <a:gd name="connsiteY6" fmla="*/ 3219450 h 3319988"/>
                <a:gd name="connsiteX7" fmla="*/ 1311275 w 7864475"/>
                <a:gd name="connsiteY7" fmla="*/ 3200400 h 3319988"/>
                <a:gd name="connsiteX8" fmla="*/ 1235075 w 7864475"/>
                <a:gd name="connsiteY8" fmla="*/ 3171825 h 3319988"/>
                <a:gd name="connsiteX9" fmla="*/ 1139825 w 7864475"/>
                <a:gd name="connsiteY9" fmla="*/ 3143250 h 3319988"/>
                <a:gd name="connsiteX10" fmla="*/ 1082675 w 7864475"/>
                <a:gd name="connsiteY10" fmla="*/ 3114675 h 3319988"/>
                <a:gd name="connsiteX11" fmla="*/ 1054100 w 7864475"/>
                <a:gd name="connsiteY11" fmla="*/ 3095625 h 3319988"/>
                <a:gd name="connsiteX12" fmla="*/ 873125 w 7864475"/>
                <a:gd name="connsiteY12" fmla="*/ 3086100 h 3319988"/>
                <a:gd name="connsiteX13" fmla="*/ 844550 w 7864475"/>
                <a:gd name="connsiteY13" fmla="*/ 3076575 h 3319988"/>
                <a:gd name="connsiteX14" fmla="*/ 644525 w 7864475"/>
                <a:gd name="connsiteY14" fmla="*/ 3057525 h 3319988"/>
                <a:gd name="connsiteX15" fmla="*/ 549275 w 7864475"/>
                <a:gd name="connsiteY15" fmla="*/ 3028950 h 3319988"/>
                <a:gd name="connsiteX16" fmla="*/ 520700 w 7864475"/>
                <a:gd name="connsiteY16" fmla="*/ 3019425 h 3319988"/>
                <a:gd name="connsiteX17" fmla="*/ 492125 w 7864475"/>
                <a:gd name="connsiteY17" fmla="*/ 3009900 h 3319988"/>
                <a:gd name="connsiteX18" fmla="*/ 425450 w 7864475"/>
                <a:gd name="connsiteY18" fmla="*/ 2971800 h 3319988"/>
                <a:gd name="connsiteX19" fmla="*/ 368300 w 7864475"/>
                <a:gd name="connsiteY19" fmla="*/ 2952750 h 3319988"/>
                <a:gd name="connsiteX20" fmla="*/ 25400 w 7864475"/>
                <a:gd name="connsiteY20" fmla="*/ 2752725 h 3319988"/>
                <a:gd name="connsiteX21" fmla="*/ 25400 w 7864475"/>
                <a:gd name="connsiteY21" fmla="*/ 2743200 h 3319988"/>
                <a:gd name="connsiteX22" fmla="*/ 34925 w 7864475"/>
                <a:gd name="connsiteY22" fmla="*/ 0 h 3319988"/>
                <a:gd name="connsiteX23" fmla="*/ 34925 w 7864475"/>
                <a:gd name="connsiteY23" fmla="*/ 0 h 3319988"/>
                <a:gd name="connsiteX24" fmla="*/ 34925 w 7864475"/>
                <a:gd name="connsiteY24" fmla="*/ 0 h 3319988"/>
                <a:gd name="connsiteX0" fmla="*/ 101600 w 7864475"/>
                <a:gd name="connsiteY0" fmla="*/ 0 h 3315921"/>
                <a:gd name="connsiteX1" fmla="*/ 7864475 w 7864475"/>
                <a:gd name="connsiteY1" fmla="*/ 0 h 3315921"/>
                <a:gd name="connsiteX2" fmla="*/ 6397625 w 7864475"/>
                <a:gd name="connsiteY2" fmla="*/ 1628775 h 3315921"/>
                <a:gd name="connsiteX3" fmla="*/ 5264150 w 7864475"/>
                <a:gd name="connsiteY3" fmla="*/ 1628775 h 3315921"/>
                <a:gd name="connsiteX4" fmla="*/ 4606925 w 7864475"/>
                <a:gd name="connsiteY4" fmla="*/ 2390775 h 3315921"/>
                <a:gd name="connsiteX5" fmla="*/ 2054225 w 7864475"/>
                <a:gd name="connsiteY5" fmla="*/ 3267075 h 3315921"/>
                <a:gd name="connsiteX6" fmla="*/ 1311275 w 7864475"/>
                <a:gd name="connsiteY6" fmla="*/ 3200400 h 3315921"/>
                <a:gd name="connsiteX7" fmla="*/ 1235075 w 7864475"/>
                <a:gd name="connsiteY7" fmla="*/ 3171825 h 3315921"/>
                <a:gd name="connsiteX8" fmla="*/ 1139825 w 7864475"/>
                <a:gd name="connsiteY8" fmla="*/ 3143250 h 3315921"/>
                <a:gd name="connsiteX9" fmla="*/ 1082675 w 7864475"/>
                <a:gd name="connsiteY9" fmla="*/ 3114675 h 3315921"/>
                <a:gd name="connsiteX10" fmla="*/ 1054100 w 7864475"/>
                <a:gd name="connsiteY10" fmla="*/ 3095625 h 3315921"/>
                <a:gd name="connsiteX11" fmla="*/ 873125 w 7864475"/>
                <a:gd name="connsiteY11" fmla="*/ 3086100 h 3315921"/>
                <a:gd name="connsiteX12" fmla="*/ 844550 w 7864475"/>
                <a:gd name="connsiteY12" fmla="*/ 3076575 h 3315921"/>
                <a:gd name="connsiteX13" fmla="*/ 644525 w 7864475"/>
                <a:gd name="connsiteY13" fmla="*/ 3057525 h 3315921"/>
                <a:gd name="connsiteX14" fmla="*/ 549275 w 7864475"/>
                <a:gd name="connsiteY14" fmla="*/ 3028950 h 3315921"/>
                <a:gd name="connsiteX15" fmla="*/ 520700 w 7864475"/>
                <a:gd name="connsiteY15" fmla="*/ 3019425 h 3315921"/>
                <a:gd name="connsiteX16" fmla="*/ 492125 w 7864475"/>
                <a:gd name="connsiteY16" fmla="*/ 3009900 h 3315921"/>
                <a:gd name="connsiteX17" fmla="*/ 425450 w 7864475"/>
                <a:gd name="connsiteY17" fmla="*/ 2971800 h 3315921"/>
                <a:gd name="connsiteX18" fmla="*/ 368300 w 7864475"/>
                <a:gd name="connsiteY18" fmla="*/ 2952750 h 3315921"/>
                <a:gd name="connsiteX19" fmla="*/ 25400 w 7864475"/>
                <a:gd name="connsiteY19" fmla="*/ 2752725 h 3315921"/>
                <a:gd name="connsiteX20" fmla="*/ 25400 w 7864475"/>
                <a:gd name="connsiteY20" fmla="*/ 2743200 h 3315921"/>
                <a:gd name="connsiteX21" fmla="*/ 34925 w 7864475"/>
                <a:gd name="connsiteY21" fmla="*/ 0 h 3315921"/>
                <a:gd name="connsiteX22" fmla="*/ 34925 w 7864475"/>
                <a:gd name="connsiteY22" fmla="*/ 0 h 3315921"/>
                <a:gd name="connsiteX23" fmla="*/ 34925 w 7864475"/>
                <a:gd name="connsiteY23" fmla="*/ 0 h 3315921"/>
                <a:gd name="connsiteX0" fmla="*/ 101600 w 7864475"/>
                <a:gd name="connsiteY0" fmla="*/ 0 h 3315921"/>
                <a:gd name="connsiteX1" fmla="*/ 7864475 w 7864475"/>
                <a:gd name="connsiteY1" fmla="*/ 0 h 3315921"/>
                <a:gd name="connsiteX2" fmla="*/ 6397625 w 7864475"/>
                <a:gd name="connsiteY2" fmla="*/ 1628775 h 3315921"/>
                <a:gd name="connsiteX3" fmla="*/ 5264150 w 7864475"/>
                <a:gd name="connsiteY3" fmla="*/ 1628775 h 3315921"/>
                <a:gd name="connsiteX4" fmla="*/ 4606925 w 7864475"/>
                <a:gd name="connsiteY4" fmla="*/ 2390775 h 3315921"/>
                <a:gd name="connsiteX5" fmla="*/ 2054225 w 7864475"/>
                <a:gd name="connsiteY5" fmla="*/ 3267075 h 3315921"/>
                <a:gd name="connsiteX6" fmla="*/ 1311275 w 7864475"/>
                <a:gd name="connsiteY6" fmla="*/ 3200400 h 3315921"/>
                <a:gd name="connsiteX7" fmla="*/ 1235075 w 7864475"/>
                <a:gd name="connsiteY7" fmla="*/ 3171825 h 3315921"/>
                <a:gd name="connsiteX8" fmla="*/ 1139825 w 7864475"/>
                <a:gd name="connsiteY8" fmla="*/ 3143250 h 3315921"/>
                <a:gd name="connsiteX9" fmla="*/ 1082675 w 7864475"/>
                <a:gd name="connsiteY9" fmla="*/ 3114675 h 3315921"/>
                <a:gd name="connsiteX10" fmla="*/ 1054100 w 7864475"/>
                <a:gd name="connsiteY10" fmla="*/ 3095625 h 3315921"/>
                <a:gd name="connsiteX11" fmla="*/ 873125 w 7864475"/>
                <a:gd name="connsiteY11" fmla="*/ 3086100 h 3315921"/>
                <a:gd name="connsiteX12" fmla="*/ 844550 w 7864475"/>
                <a:gd name="connsiteY12" fmla="*/ 3076575 h 3315921"/>
                <a:gd name="connsiteX13" fmla="*/ 644525 w 7864475"/>
                <a:gd name="connsiteY13" fmla="*/ 3057525 h 3315921"/>
                <a:gd name="connsiteX14" fmla="*/ 549275 w 7864475"/>
                <a:gd name="connsiteY14" fmla="*/ 3028950 h 3315921"/>
                <a:gd name="connsiteX15" fmla="*/ 520700 w 7864475"/>
                <a:gd name="connsiteY15" fmla="*/ 3019425 h 3315921"/>
                <a:gd name="connsiteX16" fmla="*/ 492125 w 7864475"/>
                <a:gd name="connsiteY16" fmla="*/ 3009900 h 3315921"/>
                <a:gd name="connsiteX17" fmla="*/ 425450 w 7864475"/>
                <a:gd name="connsiteY17" fmla="*/ 2971800 h 3315921"/>
                <a:gd name="connsiteX18" fmla="*/ 368300 w 7864475"/>
                <a:gd name="connsiteY18" fmla="*/ 2952750 h 3315921"/>
                <a:gd name="connsiteX19" fmla="*/ 25400 w 7864475"/>
                <a:gd name="connsiteY19" fmla="*/ 2752725 h 3315921"/>
                <a:gd name="connsiteX20" fmla="*/ 25400 w 7864475"/>
                <a:gd name="connsiteY20" fmla="*/ 2743200 h 3315921"/>
                <a:gd name="connsiteX21" fmla="*/ 34925 w 7864475"/>
                <a:gd name="connsiteY21" fmla="*/ 0 h 3315921"/>
                <a:gd name="connsiteX22" fmla="*/ 34925 w 7864475"/>
                <a:gd name="connsiteY22" fmla="*/ 0 h 3315921"/>
                <a:gd name="connsiteX23" fmla="*/ 34925 w 7864475"/>
                <a:gd name="connsiteY23" fmla="*/ 0 h 3315921"/>
                <a:gd name="connsiteX0" fmla="*/ 101600 w 7864475"/>
                <a:gd name="connsiteY0" fmla="*/ 0 h 3315921"/>
                <a:gd name="connsiteX1" fmla="*/ 7864475 w 7864475"/>
                <a:gd name="connsiteY1" fmla="*/ 0 h 3315921"/>
                <a:gd name="connsiteX2" fmla="*/ 6397625 w 7864475"/>
                <a:gd name="connsiteY2" fmla="*/ 1628775 h 3315921"/>
                <a:gd name="connsiteX3" fmla="*/ 5264150 w 7864475"/>
                <a:gd name="connsiteY3" fmla="*/ 1628775 h 3315921"/>
                <a:gd name="connsiteX4" fmla="*/ 4606925 w 7864475"/>
                <a:gd name="connsiteY4" fmla="*/ 2390775 h 3315921"/>
                <a:gd name="connsiteX5" fmla="*/ 2054225 w 7864475"/>
                <a:gd name="connsiteY5" fmla="*/ 3267075 h 3315921"/>
                <a:gd name="connsiteX6" fmla="*/ 1311275 w 7864475"/>
                <a:gd name="connsiteY6" fmla="*/ 3200400 h 3315921"/>
                <a:gd name="connsiteX7" fmla="*/ 1235075 w 7864475"/>
                <a:gd name="connsiteY7" fmla="*/ 3171825 h 3315921"/>
                <a:gd name="connsiteX8" fmla="*/ 1139825 w 7864475"/>
                <a:gd name="connsiteY8" fmla="*/ 3143250 h 3315921"/>
                <a:gd name="connsiteX9" fmla="*/ 1082675 w 7864475"/>
                <a:gd name="connsiteY9" fmla="*/ 3114675 h 3315921"/>
                <a:gd name="connsiteX10" fmla="*/ 1054100 w 7864475"/>
                <a:gd name="connsiteY10" fmla="*/ 3095625 h 3315921"/>
                <a:gd name="connsiteX11" fmla="*/ 873125 w 7864475"/>
                <a:gd name="connsiteY11" fmla="*/ 3086100 h 3315921"/>
                <a:gd name="connsiteX12" fmla="*/ 844550 w 7864475"/>
                <a:gd name="connsiteY12" fmla="*/ 3076575 h 3315921"/>
                <a:gd name="connsiteX13" fmla="*/ 644525 w 7864475"/>
                <a:gd name="connsiteY13" fmla="*/ 3057525 h 3315921"/>
                <a:gd name="connsiteX14" fmla="*/ 549275 w 7864475"/>
                <a:gd name="connsiteY14" fmla="*/ 3028950 h 3315921"/>
                <a:gd name="connsiteX15" fmla="*/ 520700 w 7864475"/>
                <a:gd name="connsiteY15" fmla="*/ 3019425 h 3315921"/>
                <a:gd name="connsiteX16" fmla="*/ 492125 w 7864475"/>
                <a:gd name="connsiteY16" fmla="*/ 3009900 h 3315921"/>
                <a:gd name="connsiteX17" fmla="*/ 425450 w 7864475"/>
                <a:gd name="connsiteY17" fmla="*/ 2971800 h 3315921"/>
                <a:gd name="connsiteX18" fmla="*/ 368300 w 7864475"/>
                <a:gd name="connsiteY18" fmla="*/ 2952750 h 3315921"/>
                <a:gd name="connsiteX19" fmla="*/ 25400 w 7864475"/>
                <a:gd name="connsiteY19" fmla="*/ 2752725 h 3315921"/>
                <a:gd name="connsiteX20" fmla="*/ 25400 w 7864475"/>
                <a:gd name="connsiteY20" fmla="*/ 2743200 h 3315921"/>
                <a:gd name="connsiteX21" fmla="*/ 34925 w 7864475"/>
                <a:gd name="connsiteY21" fmla="*/ 0 h 3315921"/>
                <a:gd name="connsiteX22" fmla="*/ 34925 w 7864475"/>
                <a:gd name="connsiteY22" fmla="*/ 0 h 3315921"/>
                <a:gd name="connsiteX23" fmla="*/ 34925 w 7864475"/>
                <a:gd name="connsiteY23" fmla="*/ 0 h 3315921"/>
                <a:gd name="connsiteX0" fmla="*/ 101600 w 7864475"/>
                <a:gd name="connsiteY0" fmla="*/ 0 h 3315921"/>
                <a:gd name="connsiteX1" fmla="*/ 7864475 w 7864475"/>
                <a:gd name="connsiteY1" fmla="*/ 0 h 3315921"/>
                <a:gd name="connsiteX2" fmla="*/ 6397625 w 7864475"/>
                <a:gd name="connsiteY2" fmla="*/ 1628775 h 3315921"/>
                <a:gd name="connsiteX3" fmla="*/ 5264150 w 7864475"/>
                <a:gd name="connsiteY3" fmla="*/ 1628775 h 3315921"/>
                <a:gd name="connsiteX4" fmla="*/ 4606925 w 7864475"/>
                <a:gd name="connsiteY4" fmla="*/ 2390775 h 3315921"/>
                <a:gd name="connsiteX5" fmla="*/ 2054225 w 7864475"/>
                <a:gd name="connsiteY5" fmla="*/ 3267075 h 3315921"/>
                <a:gd name="connsiteX6" fmla="*/ 1311275 w 7864475"/>
                <a:gd name="connsiteY6" fmla="*/ 3200400 h 3315921"/>
                <a:gd name="connsiteX7" fmla="*/ 1235075 w 7864475"/>
                <a:gd name="connsiteY7" fmla="*/ 3171825 h 3315921"/>
                <a:gd name="connsiteX8" fmla="*/ 1139825 w 7864475"/>
                <a:gd name="connsiteY8" fmla="*/ 3143250 h 3315921"/>
                <a:gd name="connsiteX9" fmla="*/ 1082675 w 7864475"/>
                <a:gd name="connsiteY9" fmla="*/ 3114675 h 3315921"/>
                <a:gd name="connsiteX10" fmla="*/ 1054100 w 7864475"/>
                <a:gd name="connsiteY10" fmla="*/ 3095625 h 3315921"/>
                <a:gd name="connsiteX11" fmla="*/ 873125 w 7864475"/>
                <a:gd name="connsiteY11" fmla="*/ 3086100 h 3315921"/>
                <a:gd name="connsiteX12" fmla="*/ 844550 w 7864475"/>
                <a:gd name="connsiteY12" fmla="*/ 3076575 h 3315921"/>
                <a:gd name="connsiteX13" fmla="*/ 644525 w 7864475"/>
                <a:gd name="connsiteY13" fmla="*/ 3057525 h 3315921"/>
                <a:gd name="connsiteX14" fmla="*/ 549275 w 7864475"/>
                <a:gd name="connsiteY14" fmla="*/ 3028950 h 3315921"/>
                <a:gd name="connsiteX15" fmla="*/ 520700 w 7864475"/>
                <a:gd name="connsiteY15" fmla="*/ 3019425 h 3315921"/>
                <a:gd name="connsiteX16" fmla="*/ 492125 w 7864475"/>
                <a:gd name="connsiteY16" fmla="*/ 3009900 h 3315921"/>
                <a:gd name="connsiteX17" fmla="*/ 425450 w 7864475"/>
                <a:gd name="connsiteY17" fmla="*/ 2971800 h 3315921"/>
                <a:gd name="connsiteX18" fmla="*/ 368300 w 7864475"/>
                <a:gd name="connsiteY18" fmla="*/ 2952750 h 3315921"/>
                <a:gd name="connsiteX19" fmla="*/ 25400 w 7864475"/>
                <a:gd name="connsiteY19" fmla="*/ 2752725 h 3315921"/>
                <a:gd name="connsiteX20" fmla="*/ 25400 w 7864475"/>
                <a:gd name="connsiteY20" fmla="*/ 2743200 h 3315921"/>
                <a:gd name="connsiteX21" fmla="*/ 34925 w 7864475"/>
                <a:gd name="connsiteY21" fmla="*/ 0 h 3315921"/>
                <a:gd name="connsiteX22" fmla="*/ 34925 w 7864475"/>
                <a:gd name="connsiteY22" fmla="*/ 0 h 3315921"/>
                <a:gd name="connsiteX23" fmla="*/ 34925 w 7864475"/>
                <a:gd name="connsiteY23" fmla="*/ 0 h 3315921"/>
                <a:gd name="connsiteX0" fmla="*/ 101600 w 7864475"/>
                <a:gd name="connsiteY0" fmla="*/ 0 h 3316661"/>
                <a:gd name="connsiteX1" fmla="*/ 7864475 w 7864475"/>
                <a:gd name="connsiteY1" fmla="*/ 0 h 3316661"/>
                <a:gd name="connsiteX2" fmla="*/ 6397625 w 7864475"/>
                <a:gd name="connsiteY2" fmla="*/ 1628775 h 3316661"/>
                <a:gd name="connsiteX3" fmla="*/ 5264150 w 7864475"/>
                <a:gd name="connsiteY3" fmla="*/ 1628775 h 3316661"/>
                <a:gd name="connsiteX4" fmla="*/ 4606925 w 7864475"/>
                <a:gd name="connsiteY4" fmla="*/ 2390775 h 3316661"/>
                <a:gd name="connsiteX5" fmla="*/ 2054225 w 7864475"/>
                <a:gd name="connsiteY5" fmla="*/ 3267075 h 3316661"/>
                <a:gd name="connsiteX6" fmla="*/ 1311275 w 7864475"/>
                <a:gd name="connsiteY6" fmla="*/ 3200400 h 3316661"/>
                <a:gd name="connsiteX7" fmla="*/ 1139825 w 7864475"/>
                <a:gd name="connsiteY7" fmla="*/ 3143250 h 3316661"/>
                <a:gd name="connsiteX8" fmla="*/ 1082675 w 7864475"/>
                <a:gd name="connsiteY8" fmla="*/ 3114675 h 3316661"/>
                <a:gd name="connsiteX9" fmla="*/ 1054100 w 7864475"/>
                <a:gd name="connsiteY9" fmla="*/ 3095625 h 3316661"/>
                <a:gd name="connsiteX10" fmla="*/ 873125 w 7864475"/>
                <a:gd name="connsiteY10" fmla="*/ 3086100 h 3316661"/>
                <a:gd name="connsiteX11" fmla="*/ 844550 w 7864475"/>
                <a:gd name="connsiteY11" fmla="*/ 3076575 h 3316661"/>
                <a:gd name="connsiteX12" fmla="*/ 644525 w 7864475"/>
                <a:gd name="connsiteY12" fmla="*/ 3057525 h 3316661"/>
                <a:gd name="connsiteX13" fmla="*/ 549275 w 7864475"/>
                <a:gd name="connsiteY13" fmla="*/ 3028950 h 3316661"/>
                <a:gd name="connsiteX14" fmla="*/ 520700 w 7864475"/>
                <a:gd name="connsiteY14" fmla="*/ 3019425 h 3316661"/>
                <a:gd name="connsiteX15" fmla="*/ 492125 w 7864475"/>
                <a:gd name="connsiteY15" fmla="*/ 3009900 h 3316661"/>
                <a:gd name="connsiteX16" fmla="*/ 425450 w 7864475"/>
                <a:gd name="connsiteY16" fmla="*/ 2971800 h 3316661"/>
                <a:gd name="connsiteX17" fmla="*/ 368300 w 7864475"/>
                <a:gd name="connsiteY17" fmla="*/ 2952750 h 3316661"/>
                <a:gd name="connsiteX18" fmla="*/ 25400 w 7864475"/>
                <a:gd name="connsiteY18" fmla="*/ 2752725 h 3316661"/>
                <a:gd name="connsiteX19" fmla="*/ 25400 w 7864475"/>
                <a:gd name="connsiteY19" fmla="*/ 2743200 h 3316661"/>
                <a:gd name="connsiteX20" fmla="*/ 34925 w 7864475"/>
                <a:gd name="connsiteY20" fmla="*/ 0 h 3316661"/>
                <a:gd name="connsiteX21" fmla="*/ 34925 w 7864475"/>
                <a:gd name="connsiteY21" fmla="*/ 0 h 3316661"/>
                <a:gd name="connsiteX22" fmla="*/ 34925 w 7864475"/>
                <a:gd name="connsiteY22" fmla="*/ 0 h 3316661"/>
                <a:gd name="connsiteX0" fmla="*/ 101600 w 7864475"/>
                <a:gd name="connsiteY0" fmla="*/ 0 h 3316661"/>
                <a:gd name="connsiteX1" fmla="*/ 7864475 w 7864475"/>
                <a:gd name="connsiteY1" fmla="*/ 0 h 3316661"/>
                <a:gd name="connsiteX2" fmla="*/ 6397625 w 7864475"/>
                <a:gd name="connsiteY2" fmla="*/ 1628775 h 3316661"/>
                <a:gd name="connsiteX3" fmla="*/ 5264150 w 7864475"/>
                <a:gd name="connsiteY3" fmla="*/ 1628775 h 3316661"/>
                <a:gd name="connsiteX4" fmla="*/ 4606925 w 7864475"/>
                <a:gd name="connsiteY4" fmla="*/ 2390775 h 3316661"/>
                <a:gd name="connsiteX5" fmla="*/ 2054225 w 7864475"/>
                <a:gd name="connsiteY5" fmla="*/ 3267075 h 3316661"/>
                <a:gd name="connsiteX6" fmla="*/ 1311275 w 7864475"/>
                <a:gd name="connsiteY6" fmla="*/ 3200400 h 3316661"/>
                <a:gd name="connsiteX7" fmla="*/ 1139825 w 7864475"/>
                <a:gd name="connsiteY7" fmla="*/ 3143250 h 3316661"/>
                <a:gd name="connsiteX8" fmla="*/ 1082675 w 7864475"/>
                <a:gd name="connsiteY8" fmla="*/ 3114675 h 3316661"/>
                <a:gd name="connsiteX9" fmla="*/ 1054100 w 7864475"/>
                <a:gd name="connsiteY9" fmla="*/ 3095625 h 3316661"/>
                <a:gd name="connsiteX10" fmla="*/ 873125 w 7864475"/>
                <a:gd name="connsiteY10" fmla="*/ 3086100 h 3316661"/>
                <a:gd name="connsiteX11" fmla="*/ 844550 w 7864475"/>
                <a:gd name="connsiteY11" fmla="*/ 3076575 h 3316661"/>
                <a:gd name="connsiteX12" fmla="*/ 644525 w 7864475"/>
                <a:gd name="connsiteY12" fmla="*/ 3057525 h 3316661"/>
                <a:gd name="connsiteX13" fmla="*/ 549275 w 7864475"/>
                <a:gd name="connsiteY13" fmla="*/ 3028950 h 3316661"/>
                <a:gd name="connsiteX14" fmla="*/ 520700 w 7864475"/>
                <a:gd name="connsiteY14" fmla="*/ 3019425 h 3316661"/>
                <a:gd name="connsiteX15" fmla="*/ 492125 w 7864475"/>
                <a:gd name="connsiteY15" fmla="*/ 3009900 h 3316661"/>
                <a:gd name="connsiteX16" fmla="*/ 425450 w 7864475"/>
                <a:gd name="connsiteY16" fmla="*/ 2971800 h 3316661"/>
                <a:gd name="connsiteX17" fmla="*/ 368300 w 7864475"/>
                <a:gd name="connsiteY17" fmla="*/ 2952750 h 3316661"/>
                <a:gd name="connsiteX18" fmla="*/ 25400 w 7864475"/>
                <a:gd name="connsiteY18" fmla="*/ 2752725 h 3316661"/>
                <a:gd name="connsiteX19" fmla="*/ 25400 w 7864475"/>
                <a:gd name="connsiteY19" fmla="*/ 2743200 h 3316661"/>
                <a:gd name="connsiteX20" fmla="*/ 34925 w 7864475"/>
                <a:gd name="connsiteY20" fmla="*/ 0 h 3316661"/>
                <a:gd name="connsiteX21" fmla="*/ 34925 w 7864475"/>
                <a:gd name="connsiteY21" fmla="*/ 0 h 3316661"/>
                <a:gd name="connsiteX22" fmla="*/ 34925 w 7864475"/>
                <a:gd name="connsiteY22" fmla="*/ 0 h 3316661"/>
                <a:gd name="connsiteX0" fmla="*/ 101600 w 7864475"/>
                <a:gd name="connsiteY0" fmla="*/ 0 h 3304977"/>
                <a:gd name="connsiteX1" fmla="*/ 7864475 w 7864475"/>
                <a:gd name="connsiteY1" fmla="*/ 0 h 3304977"/>
                <a:gd name="connsiteX2" fmla="*/ 6397625 w 7864475"/>
                <a:gd name="connsiteY2" fmla="*/ 1628775 h 3304977"/>
                <a:gd name="connsiteX3" fmla="*/ 5264150 w 7864475"/>
                <a:gd name="connsiteY3" fmla="*/ 1628775 h 3304977"/>
                <a:gd name="connsiteX4" fmla="*/ 4606925 w 7864475"/>
                <a:gd name="connsiteY4" fmla="*/ 2390775 h 3304977"/>
                <a:gd name="connsiteX5" fmla="*/ 2054225 w 7864475"/>
                <a:gd name="connsiteY5" fmla="*/ 3267075 h 3304977"/>
                <a:gd name="connsiteX6" fmla="*/ 1139825 w 7864475"/>
                <a:gd name="connsiteY6" fmla="*/ 3143250 h 3304977"/>
                <a:gd name="connsiteX7" fmla="*/ 1082675 w 7864475"/>
                <a:gd name="connsiteY7" fmla="*/ 3114675 h 3304977"/>
                <a:gd name="connsiteX8" fmla="*/ 1054100 w 7864475"/>
                <a:gd name="connsiteY8" fmla="*/ 3095625 h 3304977"/>
                <a:gd name="connsiteX9" fmla="*/ 873125 w 7864475"/>
                <a:gd name="connsiteY9" fmla="*/ 3086100 h 3304977"/>
                <a:gd name="connsiteX10" fmla="*/ 844550 w 7864475"/>
                <a:gd name="connsiteY10" fmla="*/ 3076575 h 3304977"/>
                <a:gd name="connsiteX11" fmla="*/ 644525 w 7864475"/>
                <a:gd name="connsiteY11" fmla="*/ 3057525 h 3304977"/>
                <a:gd name="connsiteX12" fmla="*/ 549275 w 7864475"/>
                <a:gd name="connsiteY12" fmla="*/ 3028950 h 3304977"/>
                <a:gd name="connsiteX13" fmla="*/ 520700 w 7864475"/>
                <a:gd name="connsiteY13" fmla="*/ 3019425 h 3304977"/>
                <a:gd name="connsiteX14" fmla="*/ 492125 w 7864475"/>
                <a:gd name="connsiteY14" fmla="*/ 3009900 h 3304977"/>
                <a:gd name="connsiteX15" fmla="*/ 425450 w 7864475"/>
                <a:gd name="connsiteY15" fmla="*/ 2971800 h 3304977"/>
                <a:gd name="connsiteX16" fmla="*/ 368300 w 7864475"/>
                <a:gd name="connsiteY16" fmla="*/ 2952750 h 3304977"/>
                <a:gd name="connsiteX17" fmla="*/ 25400 w 7864475"/>
                <a:gd name="connsiteY17" fmla="*/ 2752725 h 3304977"/>
                <a:gd name="connsiteX18" fmla="*/ 25400 w 7864475"/>
                <a:gd name="connsiteY18" fmla="*/ 2743200 h 3304977"/>
                <a:gd name="connsiteX19" fmla="*/ 34925 w 7864475"/>
                <a:gd name="connsiteY19" fmla="*/ 0 h 3304977"/>
                <a:gd name="connsiteX20" fmla="*/ 34925 w 7864475"/>
                <a:gd name="connsiteY20" fmla="*/ 0 h 3304977"/>
                <a:gd name="connsiteX21" fmla="*/ 34925 w 7864475"/>
                <a:gd name="connsiteY21" fmla="*/ 0 h 3304977"/>
                <a:gd name="connsiteX0" fmla="*/ 101600 w 7864475"/>
                <a:gd name="connsiteY0" fmla="*/ 0 h 3304977"/>
                <a:gd name="connsiteX1" fmla="*/ 7864475 w 7864475"/>
                <a:gd name="connsiteY1" fmla="*/ 0 h 3304977"/>
                <a:gd name="connsiteX2" fmla="*/ 6397625 w 7864475"/>
                <a:gd name="connsiteY2" fmla="*/ 1628775 h 3304977"/>
                <a:gd name="connsiteX3" fmla="*/ 5264150 w 7864475"/>
                <a:gd name="connsiteY3" fmla="*/ 1628775 h 3304977"/>
                <a:gd name="connsiteX4" fmla="*/ 4606925 w 7864475"/>
                <a:gd name="connsiteY4" fmla="*/ 2390775 h 3304977"/>
                <a:gd name="connsiteX5" fmla="*/ 2054225 w 7864475"/>
                <a:gd name="connsiteY5" fmla="*/ 3267075 h 3304977"/>
                <a:gd name="connsiteX6" fmla="*/ 1139825 w 7864475"/>
                <a:gd name="connsiteY6" fmla="*/ 3143250 h 3304977"/>
                <a:gd name="connsiteX7" fmla="*/ 1082675 w 7864475"/>
                <a:gd name="connsiteY7" fmla="*/ 3114675 h 3304977"/>
                <a:gd name="connsiteX8" fmla="*/ 1054100 w 7864475"/>
                <a:gd name="connsiteY8" fmla="*/ 3095625 h 3304977"/>
                <a:gd name="connsiteX9" fmla="*/ 873125 w 7864475"/>
                <a:gd name="connsiteY9" fmla="*/ 3086100 h 3304977"/>
                <a:gd name="connsiteX10" fmla="*/ 844550 w 7864475"/>
                <a:gd name="connsiteY10" fmla="*/ 3076575 h 3304977"/>
                <a:gd name="connsiteX11" fmla="*/ 644525 w 7864475"/>
                <a:gd name="connsiteY11" fmla="*/ 3057525 h 3304977"/>
                <a:gd name="connsiteX12" fmla="*/ 549275 w 7864475"/>
                <a:gd name="connsiteY12" fmla="*/ 3028950 h 3304977"/>
                <a:gd name="connsiteX13" fmla="*/ 520700 w 7864475"/>
                <a:gd name="connsiteY13" fmla="*/ 3019425 h 3304977"/>
                <a:gd name="connsiteX14" fmla="*/ 492125 w 7864475"/>
                <a:gd name="connsiteY14" fmla="*/ 3009900 h 3304977"/>
                <a:gd name="connsiteX15" fmla="*/ 425450 w 7864475"/>
                <a:gd name="connsiteY15" fmla="*/ 2971800 h 3304977"/>
                <a:gd name="connsiteX16" fmla="*/ 368300 w 7864475"/>
                <a:gd name="connsiteY16" fmla="*/ 2952750 h 3304977"/>
                <a:gd name="connsiteX17" fmla="*/ 25400 w 7864475"/>
                <a:gd name="connsiteY17" fmla="*/ 2752725 h 3304977"/>
                <a:gd name="connsiteX18" fmla="*/ 25400 w 7864475"/>
                <a:gd name="connsiteY18" fmla="*/ 2743200 h 3304977"/>
                <a:gd name="connsiteX19" fmla="*/ 34925 w 7864475"/>
                <a:gd name="connsiteY19" fmla="*/ 0 h 3304977"/>
                <a:gd name="connsiteX20" fmla="*/ 34925 w 7864475"/>
                <a:gd name="connsiteY20" fmla="*/ 0 h 3304977"/>
                <a:gd name="connsiteX21" fmla="*/ 34925 w 7864475"/>
                <a:gd name="connsiteY21" fmla="*/ 0 h 3304977"/>
                <a:gd name="connsiteX0" fmla="*/ 101600 w 7864475"/>
                <a:gd name="connsiteY0" fmla="*/ 0 h 3300312"/>
                <a:gd name="connsiteX1" fmla="*/ 7864475 w 7864475"/>
                <a:gd name="connsiteY1" fmla="*/ 0 h 3300312"/>
                <a:gd name="connsiteX2" fmla="*/ 6397625 w 7864475"/>
                <a:gd name="connsiteY2" fmla="*/ 1628775 h 3300312"/>
                <a:gd name="connsiteX3" fmla="*/ 5264150 w 7864475"/>
                <a:gd name="connsiteY3" fmla="*/ 1628775 h 3300312"/>
                <a:gd name="connsiteX4" fmla="*/ 4606925 w 7864475"/>
                <a:gd name="connsiteY4" fmla="*/ 2390775 h 3300312"/>
                <a:gd name="connsiteX5" fmla="*/ 2054225 w 7864475"/>
                <a:gd name="connsiteY5" fmla="*/ 3267075 h 3300312"/>
                <a:gd name="connsiteX6" fmla="*/ 1082675 w 7864475"/>
                <a:gd name="connsiteY6" fmla="*/ 3114675 h 3300312"/>
                <a:gd name="connsiteX7" fmla="*/ 1054100 w 7864475"/>
                <a:gd name="connsiteY7" fmla="*/ 3095625 h 3300312"/>
                <a:gd name="connsiteX8" fmla="*/ 873125 w 7864475"/>
                <a:gd name="connsiteY8" fmla="*/ 3086100 h 3300312"/>
                <a:gd name="connsiteX9" fmla="*/ 844550 w 7864475"/>
                <a:gd name="connsiteY9" fmla="*/ 3076575 h 3300312"/>
                <a:gd name="connsiteX10" fmla="*/ 644525 w 7864475"/>
                <a:gd name="connsiteY10" fmla="*/ 3057525 h 3300312"/>
                <a:gd name="connsiteX11" fmla="*/ 549275 w 7864475"/>
                <a:gd name="connsiteY11" fmla="*/ 3028950 h 3300312"/>
                <a:gd name="connsiteX12" fmla="*/ 520700 w 7864475"/>
                <a:gd name="connsiteY12" fmla="*/ 3019425 h 3300312"/>
                <a:gd name="connsiteX13" fmla="*/ 492125 w 7864475"/>
                <a:gd name="connsiteY13" fmla="*/ 3009900 h 3300312"/>
                <a:gd name="connsiteX14" fmla="*/ 425450 w 7864475"/>
                <a:gd name="connsiteY14" fmla="*/ 2971800 h 3300312"/>
                <a:gd name="connsiteX15" fmla="*/ 368300 w 7864475"/>
                <a:gd name="connsiteY15" fmla="*/ 2952750 h 3300312"/>
                <a:gd name="connsiteX16" fmla="*/ 25400 w 7864475"/>
                <a:gd name="connsiteY16" fmla="*/ 2752725 h 3300312"/>
                <a:gd name="connsiteX17" fmla="*/ 25400 w 7864475"/>
                <a:gd name="connsiteY17" fmla="*/ 2743200 h 3300312"/>
                <a:gd name="connsiteX18" fmla="*/ 34925 w 7864475"/>
                <a:gd name="connsiteY18" fmla="*/ 0 h 3300312"/>
                <a:gd name="connsiteX19" fmla="*/ 34925 w 7864475"/>
                <a:gd name="connsiteY19" fmla="*/ 0 h 3300312"/>
                <a:gd name="connsiteX20" fmla="*/ 34925 w 7864475"/>
                <a:gd name="connsiteY20" fmla="*/ 0 h 3300312"/>
                <a:gd name="connsiteX0" fmla="*/ 101600 w 7864475"/>
                <a:gd name="connsiteY0" fmla="*/ 0 h 3300459"/>
                <a:gd name="connsiteX1" fmla="*/ 7864475 w 7864475"/>
                <a:gd name="connsiteY1" fmla="*/ 0 h 3300459"/>
                <a:gd name="connsiteX2" fmla="*/ 6397625 w 7864475"/>
                <a:gd name="connsiteY2" fmla="*/ 1628775 h 3300459"/>
                <a:gd name="connsiteX3" fmla="*/ 5264150 w 7864475"/>
                <a:gd name="connsiteY3" fmla="*/ 1628775 h 3300459"/>
                <a:gd name="connsiteX4" fmla="*/ 4606925 w 7864475"/>
                <a:gd name="connsiteY4" fmla="*/ 2390775 h 3300459"/>
                <a:gd name="connsiteX5" fmla="*/ 2054225 w 7864475"/>
                <a:gd name="connsiteY5" fmla="*/ 3267075 h 3300459"/>
                <a:gd name="connsiteX6" fmla="*/ 1082675 w 7864475"/>
                <a:gd name="connsiteY6" fmla="*/ 3114675 h 3300459"/>
                <a:gd name="connsiteX7" fmla="*/ 873125 w 7864475"/>
                <a:gd name="connsiteY7" fmla="*/ 3086100 h 3300459"/>
                <a:gd name="connsiteX8" fmla="*/ 844550 w 7864475"/>
                <a:gd name="connsiteY8" fmla="*/ 3076575 h 3300459"/>
                <a:gd name="connsiteX9" fmla="*/ 644525 w 7864475"/>
                <a:gd name="connsiteY9" fmla="*/ 3057525 h 3300459"/>
                <a:gd name="connsiteX10" fmla="*/ 549275 w 7864475"/>
                <a:gd name="connsiteY10" fmla="*/ 3028950 h 3300459"/>
                <a:gd name="connsiteX11" fmla="*/ 520700 w 7864475"/>
                <a:gd name="connsiteY11" fmla="*/ 3019425 h 3300459"/>
                <a:gd name="connsiteX12" fmla="*/ 492125 w 7864475"/>
                <a:gd name="connsiteY12" fmla="*/ 3009900 h 3300459"/>
                <a:gd name="connsiteX13" fmla="*/ 425450 w 7864475"/>
                <a:gd name="connsiteY13" fmla="*/ 2971800 h 3300459"/>
                <a:gd name="connsiteX14" fmla="*/ 368300 w 7864475"/>
                <a:gd name="connsiteY14" fmla="*/ 2952750 h 3300459"/>
                <a:gd name="connsiteX15" fmla="*/ 25400 w 7864475"/>
                <a:gd name="connsiteY15" fmla="*/ 2752725 h 3300459"/>
                <a:gd name="connsiteX16" fmla="*/ 25400 w 7864475"/>
                <a:gd name="connsiteY16" fmla="*/ 2743200 h 3300459"/>
                <a:gd name="connsiteX17" fmla="*/ 34925 w 7864475"/>
                <a:gd name="connsiteY17" fmla="*/ 0 h 3300459"/>
                <a:gd name="connsiteX18" fmla="*/ 34925 w 7864475"/>
                <a:gd name="connsiteY18" fmla="*/ 0 h 3300459"/>
                <a:gd name="connsiteX19" fmla="*/ 34925 w 7864475"/>
                <a:gd name="connsiteY19" fmla="*/ 0 h 3300459"/>
                <a:gd name="connsiteX0" fmla="*/ 101600 w 7864475"/>
                <a:gd name="connsiteY0" fmla="*/ 0 h 3296209"/>
                <a:gd name="connsiteX1" fmla="*/ 7864475 w 7864475"/>
                <a:gd name="connsiteY1" fmla="*/ 0 h 3296209"/>
                <a:gd name="connsiteX2" fmla="*/ 6397625 w 7864475"/>
                <a:gd name="connsiteY2" fmla="*/ 1628775 h 3296209"/>
                <a:gd name="connsiteX3" fmla="*/ 5264150 w 7864475"/>
                <a:gd name="connsiteY3" fmla="*/ 1628775 h 3296209"/>
                <a:gd name="connsiteX4" fmla="*/ 4606925 w 7864475"/>
                <a:gd name="connsiteY4" fmla="*/ 2390775 h 3296209"/>
                <a:gd name="connsiteX5" fmla="*/ 2054225 w 7864475"/>
                <a:gd name="connsiteY5" fmla="*/ 3267075 h 3296209"/>
                <a:gd name="connsiteX6" fmla="*/ 873125 w 7864475"/>
                <a:gd name="connsiteY6" fmla="*/ 3086100 h 3296209"/>
                <a:gd name="connsiteX7" fmla="*/ 844550 w 7864475"/>
                <a:gd name="connsiteY7" fmla="*/ 3076575 h 3296209"/>
                <a:gd name="connsiteX8" fmla="*/ 644525 w 7864475"/>
                <a:gd name="connsiteY8" fmla="*/ 3057525 h 3296209"/>
                <a:gd name="connsiteX9" fmla="*/ 549275 w 7864475"/>
                <a:gd name="connsiteY9" fmla="*/ 3028950 h 3296209"/>
                <a:gd name="connsiteX10" fmla="*/ 520700 w 7864475"/>
                <a:gd name="connsiteY10" fmla="*/ 3019425 h 3296209"/>
                <a:gd name="connsiteX11" fmla="*/ 492125 w 7864475"/>
                <a:gd name="connsiteY11" fmla="*/ 3009900 h 3296209"/>
                <a:gd name="connsiteX12" fmla="*/ 425450 w 7864475"/>
                <a:gd name="connsiteY12" fmla="*/ 2971800 h 3296209"/>
                <a:gd name="connsiteX13" fmla="*/ 368300 w 7864475"/>
                <a:gd name="connsiteY13" fmla="*/ 2952750 h 3296209"/>
                <a:gd name="connsiteX14" fmla="*/ 25400 w 7864475"/>
                <a:gd name="connsiteY14" fmla="*/ 2752725 h 3296209"/>
                <a:gd name="connsiteX15" fmla="*/ 25400 w 7864475"/>
                <a:gd name="connsiteY15" fmla="*/ 2743200 h 3296209"/>
                <a:gd name="connsiteX16" fmla="*/ 34925 w 7864475"/>
                <a:gd name="connsiteY16" fmla="*/ 0 h 3296209"/>
                <a:gd name="connsiteX17" fmla="*/ 34925 w 7864475"/>
                <a:gd name="connsiteY17" fmla="*/ 0 h 3296209"/>
                <a:gd name="connsiteX18" fmla="*/ 34925 w 7864475"/>
                <a:gd name="connsiteY18" fmla="*/ 0 h 3296209"/>
                <a:gd name="connsiteX0" fmla="*/ 101600 w 7864475"/>
                <a:gd name="connsiteY0" fmla="*/ 0 h 3296209"/>
                <a:gd name="connsiteX1" fmla="*/ 7864475 w 7864475"/>
                <a:gd name="connsiteY1" fmla="*/ 0 h 3296209"/>
                <a:gd name="connsiteX2" fmla="*/ 6397625 w 7864475"/>
                <a:gd name="connsiteY2" fmla="*/ 1628775 h 3296209"/>
                <a:gd name="connsiteX3" fmla="*/ 5264150 w 7864475"/>
                <a:gd name="connsiteY3" fmla="*/ 1628775 h 3296209"/>
                <a:gd name="connsiteX4" fmla="*/ 4606925 w 7864475"/>
                <a:gd name="connsiteY4" fmla="*/ 2390775 h 3296209"/>
                <a:gd name="connsiteX5" fmla="*/ 2054225 w 7864475"/>
                <a:gd name="connsiteY5" fmla="*/ 3267075 h 3296209"/>
                <a:gd name="connsiteX6" fmla="*/ 873125 w 7864475"/>
                <a:gd name="connsiteY6" fmla="*/ 3086100 h 3296209"/>
                <a:gd name="connsiteX7" fmla="*/ 644525 w 7864475"/>
                <a:gd name="connsiteY7" fmla="*/ 3057525 h 3296209"/>
                <a:gd name="connsiteX8" fmla="*/ 549275 w 7864475"/>
                <a:gd name="connsiteY8" fmla="*/ 3028950 h 3296209"/>
                <a:gd name="connsiteX9" fmla="*/ 520700 w 7864475"/>
                <a:gd name="connsiteY9" fmla="*/ 3019425 h 3296209"/>
                <a:gd name="connsiteX10" fmla="*/ 492125 w 7864475"/>
                <a:gd name="connsiteY10" fmla="*/ 3009900 h 3296209"/>
                <a:gd name="connsiteX11" fmla="*/ 425450 w 7864475"/>
                <a:gd name="connsiteY11" fmla="*/ 2971800 h 3296209"/>
                <a:gd name="connsiteX12" fmla="*/ 368300 w 7864475"/>
                <a:gd name="connsiteY12" fmla="*/ 2952750 h 3296209"/>
                <a:gd name="connsiteX13" fmla="*/ 25400 w 7864475"/>
                <a:gd name="connsiteY13" fmla="*/ 2752725 h 3296209"/>
                <a:gd name="connsiteX14" fmla="*/ 25400 w 7864475"/>
                <a:gd name="connsiteY14" fmla="*/ 2743200 h 3296209"/>
                <a:gd name="connsiteX15" fmla="*/ 34925 w 7864475"/>
                <a:gd name="connsiteY15" fmla="*/ 0 h 3296209"/>
                <a:gd name="connsiteX16" fmla="*/ 34925 w 7864475"/>
                <a:gd name="connsiteY16" fmla="*/ 0 h 3296209"/>
                <a:gd name="connsiteX17" fmla="*/ 34925 w 7864475"/>
                <a:gd name="connsiteY17" fmla="*/ 0 h 3296209"/>
                <a:gd name="connsiteX0" fmla="*/ 101600 w 7864475"/>
                <a:gd name="connsiteY0" fmla="*/ 0 h 3296209"/>
                <a:gd name="connsiteX1" fmla="*/ 7864475 w 7864475"/>
                <a:gd name="connsiteY1" fmla="*/ 0 h 3296209"/>
                <a:gd name="connsiteX2" fmla="*/ 6397625 w 7864475"/>
                <a:gd name="connsiteY2" fmla="*/ 1628775 h 3296209"/>
                <a:gd name="connsiteX3" fmla="*/ 5264150 w 7864475"/>
                <a:gd name="connsiteY3" fmla="*/ 1628775 h 3296209"/>
                <a:gd name="connsiteX4" fmla="*/ 4606925 w 7864475"/>
                <a:gd name="connsiteY4" fmla="*/ 2390775 h 3296209"/>
                <a:gd name="connsiteX5" fmla="*/ 2054225 w 7864475"/>
                <a:gd name="connsiteY5" fmla="*/ 3267075 h 3296209"/>
                <a:gd name="connsiteX6" fmla="*/ 873125 w 7864475"/>
                <a:gd name="connsiteY6" fmla="*/ 3086100 h 3296209"/>
                <a:gd name="connsiteX7" fmla="*/ 644525 w 7864475"/>
                <a:gd name="connsiteY7" fmla="*/ 3057525 h 3296209"/>
                <a:gd name="connsiteX8" fmla="*/ 549275 w 7864475"/>
                <a:gd name="connsiteY8" fmla="*/ 3028950 h 3296209"/>
                <a:gd name="connsiteX9" fmla="*/ 520700 w 7864475"/>
                <a:gd name="connsiteY9" fmla="*/ 3019425 h 3296209"/>
                <a:gd name="connsiteX10" fmla="*/ 492125 w 7864475"/>
                <a:gd name="connsiteY10" fmla="*/ 3009900 h 3296209"/>
                <a:gd name="connsiteX11" fmla="*/ 425450 w 7864475"/>
                <a:gd name="connsiteY11" fmla="*/ 2971800 h 3296209"/>
                <a:gd name="connsiteX12" fmla="*/ 368300 w 7864475"/>
                <a:gd name="connsiteY12" fmla="*/ 2952750 h 3296209"/>
                <a:gd name="connsiteX13" fmla="*/ 25400 w 7864475"/>
                <a:gd name="connsiteY13" fmla="*/ 2752725 h 3296209"/>
                <a:gd name="connsiteX14" fmla="*/ 25400 w 7864475"/>
                <a:gd name="connsiteY14" fmla="*/ 2743200 h 3296209"/>
                <a:gd name="connsiteX15" fmla="*/ 34925 w 7864475"/>
                <a:gd name="connsiteY15" fmla="*/ 0 h 3296209"/>
                <a:gd name="connsiteX16" fmla="*/ 34925 w 7864475"/>
                <a:gd name="connsiteY16" fmla="*/ 0 h 3296209"/>
                <a:gd name="connsiteX17" fmla="*/ 34925 w 7864475"/>
                <a:gd name="connsiteY17" fmla="*/ 0 h 3296209"/>
                <a:gd name="connsiteX0" fmla="*/ 101600 w 7864475"/>
                <a:gd name="connsiteY0" fmla="*/ 0 h 3292904"/>
                <a:gd name="connsiteX1" fmla="*/ 7864475 w 7864475"/>
                <a:gd name="connsiteY1" fmla="*/ 0 h 3292904"/>
                <a:gd name="connsiteX2" fmla="*/ 6397625 w 7864475"/>
                <a:gd name="connsiteY2" fmla="*/ 1628775 h 3292904"/>
                <a:gd name="connsiteX3" fmla="*/ 5264150 w 7864475"/>
                <a:gd name="connsiteY3" fmla="*/ 1628775 h 3292904"/>
                <a:gd name="connsiteX4" fmla="*/ 4606925 w 7864475"/>
                <a:gd name="connsiteY4" fmla="*/ 2390775 h 3292904"/>
                <a:gd name="connsiteX5" fmla="*/ 2054225 w 7864475"/>
                <a:gd name="connsiteY5" fmla="*/ 3267075 h 3292904"/>
                <a:gd name="connsiteX6" fmla="*/ 644525 w 7864475"/>
                <a:gd name="connsiteY6" fmla="*/ 3057525 h 3292904"/>
                <a:gd name="connsiteX7" fmla="*/ 549275 w 7864475"/>
                <a:gd name="connsiteY7" fmla="*/ 3028950 h 3292904"/>
                <a:gd name="connsiteX8" fmla="*/ 520700 w 7864475"/>
                <a:gd name="connsiteY8" fmla="*/ 3019425 h 3292904"/>
                <a:gd name="connsiteX9" fmla="*/ 492125 w 7864475"/>
                <a:gd name="connsiteY9" fmla="*/ 3009900 h 3292904"/>
                <a:gd name="connsiteX10" fmla="*/ 425450 w 7864475"/>
                <a:gd name="connsiteY10" fmla="*/ 2971800 h 3292904"/>
                <a:gd name="connsiteX11" fmla="*/ 368300 w 7864475"/>
                <a:gd name="connsiteY11" fmla="*/ 2952750 h 3292904"/>
                <a:gd name="connsiteX12" fmla="*/ 25400 w 7864475"/>
                <a:gd name="connsiteY12" fmla="*/ 2752725 h 3292904"/>
                <a:gd name="connsiteX13" fmla="*/ 25400 w 7864475"/>
                <a:gd name="connsiteY13" fmla="*/ 2743200 h 3292904"/>
                <a:gd name="connsiteX14" fmla="*/ 34925 w 7864475"/>
                <a:gd name="connsiteY14" fmla="*/ 0 h 3292904"/>
                <a:gd name="connsiteX15" fmla="*/ 34925 w 7864475"/>
                <a:gd name="connsiteY15" fmla="*/ 0 h 3292904"/>
                <a:gd name="connsiteX16" fmla="*/ 34925 w 7864475"/>
                <a:gd name="connsiteY16" fmla="*/ 0 h 3292904"/>
                <a:gd name="connsiteX0" fmla="*/ 101600 w 7864475"/>
                <a:gd name="connsiteY0" fmla="*/ 0 h 3292904"/>
                <a:gd name="connsiteX1" fmla="*/ 7864475 w 7864475"/>
                <a:gd name="connsiteY1" fmla="*/ 0 h 3292904"/>
                <a:gd name="connsiteX2" fmla="*/ 6397625 w 7864475"/>
                <a:gd name="connsiteY2" fmla="*/ 1628775 h 3292904"/>
                <a:gd name="connsiteX3" fmla="*/ 5264150 w 7864475"/>
                <a:gd name="connsiteY3" fmla="*/ 1628775 h 3292904"/>
                <a:gd name="connsiteX4" fmla="*/ 4606925 w 7864475"/>
                <a:gd name="connsiteY4" fmla="*/ 2390775 h 3292904"/>
                <a:gd name="connsiteX5" fmla="*/ 2054225 w 7864475"/>
                <a:gd name="connsiteY5" fmla="*/ 3267075 h 3292904"/>
                <a:gd name="connsiteX6" fmla="*/ 644525 w 7864475"/>
                <a:gd name="connsiteY6" fmla="*/ 3057525 h 3292904"/>
                <a:gd name="connsiteX7" fmla="*/ 549275 w 7864475"/>
                <a:gd name="connsiteY7" fmla="*/ 3028950 h 3292904"/>
                <a:gd name="connsiteX8" fmla="*/ 520700 w 7864475"/>
                <a:gd name="connsiteY8" fmla="*/ 3019425 h 3292904"/>
                <a:gd name="connsiteX9" fmla="*/ 492125 w 7864475"/>
                <a:gd name="connsiteY9" fmla="*/ 3009900 h 3292904"/>
                <a:gd name="connsiteX10" fmla="*/ 425450 w 7864475"/>
                <a:gd name="connsiteY10" fmla="*/ 2971800 h 3292904"/>
                <a:gd name="connsiteX11" fmla="*/ 368300 w 7864475"/>
                <a:gd name="connsiteY11" fmla="*/ 2952750 h 3292904"/>
                <a:gd name="connsiteX12" fmla="*/ 25400 w 7864475"/>
                <a:gd name="connsiteY12" fmla="*/ 2752725 h 3292904"/>
                <a:gd name="connsiteX13" fmla="*/ 25400 w 7864475"/>
                <a:gd name="connsiteY13" fmla="*/ 2743200 h 3292904"/>
                <a:gd name="connsiteX14" fmla="*/ 34925 w 7864475"/>
                <a:gd name="connsiteY14" fmla="*/ 0 h 3292904"/>
                <a:gd name="connsiteX15" fmla="*/ 34925 w 7864475"/>
                <a:gd name="connsiteY15" fmla="*/ 0 h 3292904"/>
                <a:gd name="connsiteX16" fmla="*/ 34925 w 7864475"/>
                <a:gd name="connsiteY16" fmla="*/ 0 h 3292904"/>
                <a:gd name="connsiteX0" fmla="*/ 101600 w 7864475"/>
                <a:gd name="connsiteY0" fmla="*/ 0 h 3267075"/>
                <a:gd name="connsiteX1" fmla="*/ 7864475 w 7864475"/>
                <a:gd name="connsiteY1" fmla="*/ 0 h 3267075"/>
                <a:gd name="connsiteX2" fmla="*/ 6397625 w 7864475"/>
                <a:gd name="connsiteY2" fmla="*/ 1628775 h 3267075"/>
                <a:gd name="connsiteX3" fmla="*/ 5264150 w 7864475"/>
                <a:gd name="connsiteY3" fmla="*/ 1628775 h 3267075"/>
                <a:gd name="connsiteX4" fmla="*/ 4606925 w 7864475"/>
                <a:gd name="connsiteY4" fmla="*/ 2390775 h 3267075"/>
                <a:gd name="connsiteX5" fmla="*/ 2054225 w 7864475"/>
                <a:gd name="connsiteY5" fmla="*/ 3267075 h 3267075"/>
                <a:gd name="connsiteX6" fmla="*/ 549275 w 7864475"/>
                <a:gd name="connsiteY6" fmla="*/ 3028950 h 3267075"/>
                <a:gd name="connsiteX7" fmla="*/ 520700 w 7864475"/>
                <a:gd name="connsiteY7" fmla="*/ 3019425 h 3267075"/>
                <a:gd name="connsiteX8" fmla="*/ 492125 w 7864475"/>
                <a:gd name="connsiteY8" fmla="*/ 3009900 h 3267075"/>
                <a:gd name="connsiteX9" fmla="*/ 425450 w 7864475"/>
                <a:gd name="connsiteY9" fmla="*/ 2971800 h 3267075"/>
                <a:gd name="connsiteX10" fmla="*/ 368300 w 7864475"/>
                <a:gd name="connsiteY10" fmla="*/ 2952750 h 3267075"/>
                <a:gd name="connsiteX11" fmla="*/ 25400 w 7864475"/>
                <a:gd name="connsiteY11" fmla="*/ 2752725 h 3267075"/>
                <a:gd name="connsiteX12" fmla="*/ 25400 w 7864475"/>
                <a:gd name="connsiteY12" fmla="*/ 2743200 h 3267075"/>
                <a:gd name="connsiteX13" fmla="*/ 34925 w 7864475"/>
                <a:gd name="connsiteY13" fmla="*/ 0 h 3267075"/>
                <a:gd name="connsiteX14" fmla="*/ 34925 w 7864475"/>
                <a:gd name="connsiteY14" fmla="*/ 0 h 3267075"/>
                <a:gd name="connsiteX15" fmla="*/ 34925 w 7864475"/>
                <a:gd name="connsiteY15" fmla="*/ 0 h 3267075"/>
                <a:gd name="connsiteX0" fmla="*/ 101600 w 7864475"/>
                <a:gd name="connsiteY0" fmla="*/ 0 h 3267075"/>
                <a:gd name="connsiteX1" fmla="*/ 7864475 w 7864475"/>
                <a:gd name="connsiteY1" fmla="*/ 0 h 3267075"/>
                <a:gd name="connsiteX2" fmla="*/ 6397625 w 7864475"/>
                <a:gd name="connsiteY2" fmla="*/ 1628775 h 3267075"/>
                <a:gd name="connsiteX3" fmla="*/ 5264150 w 7864475"/>
                <a:gd name="connsiteY3" fmla="*/ 1628775 h 3267075"/>
                <a:gd name="connsiteX4" fmla="*/ 4606925 w 7864475"/>
                <a:gd name="connsiteY4" fmla="*/ 2390775 h 3267075"/>
                <a:gd name="connsiteX5" fmla="*/ 2054225 w 7864475"/>
                <a:gd name="connsiteY5" fmla="*/ 3267075 h 3267075"/>
                <a:gd name="connsiteX6" fmla="*/ 549275 w 7864475"/>
                <a:gd name="connsiteY6" fmla="*/ 3028950 h 3267075"/>
                <a:gd name="connsiteX7" fmla="*/ 520700 w 7864475"/>
                <a:gd name="connsiteY7" fmla="*/ 3019425 h 3267075"/>
                <a:gd name="connsiteX8" fmla="*/ 425450 w 7864475"/>
                <a:gd name="connsiteY8" fmla="*/ 2971800 h 3267075"/>
                <a:gd name="connsiteX9" fmla="*/ 368300 w 7864475"/>
                <a:gd name="connsiteY9" fmla="*/ 2952750 h 3267075"/>
                <a:gd name="connsiteX10" fmla="*/ 25400 w 7864475"/>
                <a:gd name="connsiteY10" fmla="*/ 2752725 h 3267075"/>
                <a:gd name="connsiteX11" fmla="*/ 25400 w 7864475"/>
                <a:gd name="connsiteY11" fmla="*/ 2743200 h 3267075"/>
                <a:gd name="connsiteX12" fmla="*/ 34925 w 7864475"/>
                <a:gd name="connsiteY12" fmla="*/ 0 h 3267075"/>
                <a:gd name="connsiteX13" fmla="*/ 34925 w 7864475"/>
                <a:gd name="connsiteY13" fmla="*/ 0 h 3267075"/>
                <a:gd name="connsiteX14" fmla="*/ 34925 w 7864475"/>
                <a:gd name="connsiteY14" fmla="*/ 0 h 3267075"/>
                <a:gd name="connsiteX0" fmla="*/ 101600 w 7864475"/>
                <a:gd name="connsiteY0" fmla="*/ 0 h 3267075"/>
                <a:gd name="connsiteX1" fmla="*/ 7864475 w 7864475"/>
                <a:gd name="connsiteY1" fmla="*/ 0 h 3267075"/>
                <a:gd name="connsiteX2" fmla="*/ 6397625 w 7864475"/>
                <a:gd name="connsiteY2" fmla="*/ 1628775 h 3267075"/>
                <a:gd name="connsiteX3" fmla="*/ 5264150 w 7864475"/>
                <a:gd name="connsiteY3" fmla="*/ 1628775 h 3267075"/>
                <a:gd name="connsiteX4" fmla="*/ 4606925 w 7864475"/>
                <a:gd name="connsiteY4" fmla="*/ 2390775 h 3267075"/>
                <a:gd name="connsiteX5" fmla="*/ 2054225 w 7864475"/>
                <a:gd name="connsiteY5" fmla="*/ 3267075 h 3267075"/>
                <a:gd name="connsiteX6" fmla="*/ 549275 w 7864475"/>
                <a:gd name="connsiteY6" fmla="*/ 3028950 h 3267075"/>
                <a:gd name="connsiteX7" fmla="*/ 425450 w 7864475"/>
                <a:gd name="connsiteY7" fmla="*/ 2971800 h 3267075"/>
                <a:gd name="connsiteX8" fmla="*/ 368300 w 7864475"/>
                <a:gd name="connsiteY8" fmla="*/ 2952750 h 3267075"/>
                <a:gd name="connsiteX9" fmla="*/ 25400 w 7864475"/>
                <a:gd name="connsiteY9" fmla="*/ 2752725 h 3267075"/>
                <a:gd name="connsiteX10" fmla="*/ 25400 w 7864475"/>
                <a:gd name="connsiteY10" fmla="*/ 2743200 h 3267075"/>
                <a:gd name="connsiteX11" fmla="*/ 34925 w 7864475"/>
                <a:gd name="connsiteY11" fmla="*/ 0 h 3267075"/>
                <a:gd name="connsiteX12" fmla="*/ 34925 w 7864475"/>
                <a:gd name="connsiteY12" fmla="*/ 0 h 3267075"/>
                <a:gd name="connsiteX13" fmla="*/ 34925 w 7864475"/>
                <a:gd name="connsiteY13" fmla="*/ 0 h 3267075"/>
                <a:gd name="connsiteX0" fmla="*/ 105833 w 7868708"/>
                <a:gd name="connsiteY0" fmla="*/ 0 h 3267075"/>
                <a:gd name="connsiteX1" fmla="*/ 7868708 w 7868708"/>
                <a:gd name="connsiteY1" fmla="*/ 0 h 3267075"/>
                <a:gd name="connsiteX2" fmla="*/ 6401858 w 7868708"/>
                <a:gd name="connsiteY2" fmla="*/ 1628775 h 3267075"/>
                <a:gd name="connsiteX3" fmla="*/ 5268383 w 7868708"/>
                <a:gd name="connsiteY3" fmla="*/ 1628775 h 3267075"/>
                <a:gd name="connsiteX4" fmla="*/ 4611158 w 7868708"/>
                <a:gd name="connsiteY4" fmla="*/ 2390775 h 3267075"/>
                <a:gd name="connsiteX5" fmla="*/ 2058458 w 7868708"/>
                <a:gd name="connsiteY5" fmla="*/ 3267075 h 3267075"/>
                <a:gd name="connsiteX6" fmla="*/ 553508 w 7868708"/>
                <a:gd name="connsiteY6" fmla="*/ 3028950 h 3267075"/>
                <a:gd name="connsiteX7" fmla="*/ 429683 w 7868708"/>
                <a:gd name="connsiteY7" fmla="*/ 2971800 h 3267075"/>
                <a:gd name="connsiteX8" fmla="*/ 29633 w 7868708"/>
                <a:gd name="connsiteY8" fmla="*/ 2752725 h 3267075"/>
                <a:gd name="connsiteX9" fmla="*/ 29633 w 7868708"/>
                <a:gd name="connsiteY9" fmla="*/ 2743200 h 3267075"/>
                <a:gd name="connsiteX10" fmla="*/ 39158 w 7868708"/>
                <a:gd name="connsiteY10" fmla="*/ 0 h 3267075"/>
                <a:gd name="connsiteX11" fmla="*/ 39158 w 7868708"/>
                <a:gd name="connsiteY11" fmla="*/ 0 h 3267075"/>
                <a:gd name="connsiteX12" fmla="*/ 39158 w 7868708"/>
                <a:gd name="connsiteY12" fmla="*/ 0 h 3267075"/>
                <a:gd name="connsiteX0" fmla="*/ 115005 w 7877880"/>
                <a:gd name="connsiteY0" fmla="*/ 0 h 3267075"/>
                <a:gd name="connsiteX1" fmla="*/ 7877880 w 7877880"/>
                <a:gd name="connsiteY1" fmla="*/ 0 h 3267075"/>
                <a:gd name="connsiteX2" fmla="*/ 6411030 w 7877880"/>
                <a:gd name="connsiteY2" fmla="*/ 1628775 h 3267075"/>
                <a:gd name="connsiteX3" fmla="*/ 5277555 w 7877880"/>
                <a:gd name="connsiteY3" fmla="*/ 1628775 h 3267075"/>
                <a:gd name="connsiteX4" fmla="*/ 4620330 w 7877880"/>
                <a:gd name="connsiteY4" fmla="*/ 2390775 h 3267075"/>
                <a:gd name="connsiteX5" fmla="*/ 2067630 w 7877880"/>
                <a:gd name="connsiteY5" fmla="*/ 3267075 h 3267075"/>
                <a:gd name="connsiteX6" fmla="*/ 562680 w 7877880"/>
                <a:gd name="connsiteY6" fmla="*/ 3028950 h 3267075"/>
                <a:gd name="connsiteX7" fmla="*/ 38805 w 7877880"/>
                <a:gd name="connsiteY7" fmla="*/ 2752725 h 3267075"/>
                <a:gd name="connsiteX8" fmla="*/ 38805 w 7877880"/>
                <a:gd name="connsiteY8" fmla="*/ 2743200 h 3267075"/>
                <a:gd name="connsiteX9" fmla="*/ 48330 w 7877880"/>
                <a:gd name="connsiteY9" fmla="*/ 0 h 3267075"/>
                <a:gd name="connsiteX10" fmla="*/ 48330 w 7877880"/>
                <a:gd name="connsiteY10" fmla="*/ 0 h 3267075"/>
                <a:gd name="connsiteX11" fmla="*/ 48330 w 7877880"/>
                <a:gd name="connsiteY11" fmla="*/ 0 h 3267075"/>
                <a:gd name="connsiteX0" fmla="*/ 115005 w 7877880"/>
                <a:gd name="connsiteY0" fmla="*/ 0 h 3292320"/>
                <a:gd name="connsiteX1" fmla="*/ 7877880 w 7877880"/>
                <a:gd name="connsiteY1" fmla="*/ 0 h 3292320"/>
                <a:gd name="connsiteX2" fmla="*/ 6411030 w 7877880"/>
                <a:gd name="connsiteY2" fmla="*/ 1628775 h 3292320"/>
                <a:gd name="connsiteX3" fmla="*/ 5277555 w 7877880"/>
                <a:gd name="connsiteY3" fmla="*/ 1628775 h 3292320"/>
                <a:gd name="connsiteX4" fmla="*/ 4620330 w 7877880"/>
                <a:gd name="connsiteY4" fmla="*/ 2390775 h 3292320"/>
                <a:gd name="connsiteX5" fmla="*/ 2067630 w 7877880"/>
                <a:gd name="connsiteY5" fmla="*/ 3267075 h 3292320"/>
                <a:gd name="connsiteX6" fmla="*/ 562680 w 7877880"/>
                <a:gd name="connsiteY6" fmla="*/ 3028950 h 3292320"/>
                <a:gd name="connsiteX7" fmla="*/ 38805 w 7877880"/>
                <a:gd name="connsiteY7" fmla="*/ 2752725 h 3292320"/>
                <a:gd name="connsiteX8" fmla="*/ 38805 w 7877880"/>
                <a:gd name="connsiteY8" fmla="*/ 2743200 h 3292320"/>
                <a:gd name="connsiteX9" fmla="*/ 48330 w 7877880"/>
                <a:gd name="connsiteY9" fmla="*/ 0 h 3292320"/>
                <a:gd name="connsiteX10" fmla="*/ 48330 w 7877880"/>
                <a:gd name="connsiteY10" fmla="*/ 0 h 3292320"/>
                <a:gd name="connsiteX11" fmla="*/ 48330 w 7877880"/>
                <a:gd name="connsiteY11" fmla="*/ 0 h 3292320"/>
                <a:gd name="connsiteX0" fmla="*/ 115005 w 7877880"/>
                <a:gd name="connsiteY0" fmla="*/ 0 h 3341037"/>
                <a:gd name="connsiteX1" fmla="*/ 7877880 w 7877880"/>
                <a:gd name="connsiteY1" fmla="*/ 0 h 3341037"/>
                <a:gd name="connsiteX2" fmla="*/ 6411030 w 7877880"/>
                <a:gd name="connsiteY2" fmla="*/ 1628775 h 3341037"/>
                <a:gd name="connsiteX3" fmla="*/ 5277555 w 7877880"/>
                <a:gd name="connsiteY3" fmla="*/ 1628775 h 3341037"/>
                <a:gd name="connsiteX4" fmla="*/ 2067630 w 7877880"/>
                <a:gd name="connsiteY4" fmla="*/ 3267075 h 3341037"/>
                <a:gd name="connsiteX5" fmla="*/ 562680 w 7877880"/>
                <a:gd name="connsiteY5" fmla="*/ 3028950 h 3341037"/>
                <a:gd name="connsiteX6" fmla="*/ 38805 w 7877880"/>
                <a:gd name="connsiteY6" fmla="*/ 2752725 h 3341037"/>
                <a:gd name="connsiteX7" fmla="*/ 38805 w 7877880"/>
                <a:gd name="connsiteY7" fmla="*/ 2743200 h 3341037"/>
                <a:gd name="connsiteX8" fmla="*/ 48330 w 7877880"/>
                <a:gd name="connsiteY8" fmla="*/ 0 h 3341037"/>
                <a:gd name="connsiteX9" fmla="*/ 48330 w 7877880"/>
                <a:gd name="connsiteY9" fmla="*/ 0 h 3341037"/>
                <a:gd name="connsiteX10" fmla="*/ 48330 w 7877880"/>
                <a:gd name="connsiteY10" fmla="*/ 0 h 3341037"/>
                <a:gd name="connsiteX0" fmla="*/ 115005 w 7877880"/>
                <a:gd name="connsiteY0" fmla="*/ 0 h 3226122"/>
                <a:gd name="connsiteX1" fmla="*/ 7877880 w 7877880"/>
                <a:gd name="connsiteY1" fmla="*/ 0 h 3226122"/>
                <a:gd name="connsiteX2" fmla="*/ 6411030 w 7877880"/>
                <a:gd name="connsiteY2" fmla="*/ 1628775 h 3226122"/>
                <a:gd name="connsiteX3" fmla="*/ 5277555 w 7877880"/>
                <a:gd name="connsiteY3" fmla="*/ 1628775 h 3226122"/>
                <a:gd name="connsiteX4" fmla="*/ 3086805 w 7877880"/>
                <a:gd name="connsiteY4" fmla="*/ 3133725 h 3226122"/>
                <a:gd name="connsiteX5" fmla="*/ 562680 w 7877880"/>
                <a:gd name="connsiteY5" fmla="*/ 3028950 h 3226122"/>
                <a:gd name="connsiteX6" fmla="*/ 38805 w 7877880"/>
                <a:gd name="connsiteY6" fmla="*/ 2752725 h 3226122"/>
                <a:gd name="connsiteX7" fmla="*/ 38805 w 7877880"/>
                <a:gd name="connsiteY7" fmla="*/ 2743200 h 3226122"/>
                <a:gd name="connsiteX8" fmla="*/ 48330 w 7877880"/>
                <a:gd name="connsiteY8" fmla="*/ 0 h 3226122"/>
                <a:gd name="connsiteX9" fmla="*/ 48330 w 7877880"/>
                <a:gd name="connsiteY9" fmla="*/ 0 h 3226122"/>
                <a:gd name="connsiteX10" fmla="*/ 48330 w 7877880"/>
                <a:gd name="connsiteY10" fmla="*/ 0 h 3226122"/>
                <a:gd name="connsiteX0" fmla="*/ 115005 w 7877880"/>
                <a:gd name="connsiteY0" fmla="*/ 0 h 3223170"/>
                <a:gd name="connsiteX1" fmla="*/ 7877880 w 7877880"/>
                <a:gd name="connsiteY1" fmla="*/ 0 h 3223170"/>
                <a:gd name="connsiteX2" fmla="*/ 6411030 w 7877880"/>
                <a:gd name="connsiteY2" fmla="*/ 1628775 h 3223170"/>
                <a:gd name="connsiteX3" fmla="*/ 5277555 w 7877880"/>
                <a:gd name="connsiteY3" fmla="*/ 1628775 h 3223170"/>
                <a:gd name="connsiteX4" fmla="*/ 3086805 w 7877880"/>
                <a:gd name="connsiteY4" fmla="*/ 3133725 h 3223170"/>
                <a:gd name="connsiteX5" fmla="*/ 562680 w 7877880"/>
                <a:gd name="connsiteY5" fmla="*/ 3028950 h 3223170"/>
                <a:gd name="connsiteX6" fmla="*/ 38805 w 7877880"/>
                <a:gd name="connsiteY6" fmla="*/ 2752725 h 3223170"/>
                <a:gd name="connsiteX7" fmla="*/ 38805 w 7877880"/>
                <a:gd name="connsiteY7" fmla="*/ 2743200 h 3223170"/>
                <a:gd name="connsiteX8" fmla="*/ 48330 w 7877880"/>
                <a:gd name="connsiteY8" fmla="*/ 0 h 3223170"/>
                <a:gd name="connsiteX9" fmla="*/ 48330 w 7877880"/>
                <a:gd name="connsiteY9" fmla="*/ 0 h 3223170"/>
                <a:gd name="connsiteX10" fmla="*/ 48330 w 7877880"/>
                <a:gd name="connsiteY10" fmla="*/ 0 h 3223170"/>
                <a:gd name="connsiteX0" fmla="*/ 115005 w 7877880"/>
                <a:gd name="connsiteY0" fmla="*/ 0 h 3223170"/>
                <a:gd name="connsiteX1" fmla="*/ 7877880 w 7877880"/>
                <a:gd name="connsiteY1" fmla="*/ 0 h 3223170"/>
                <a:gd name="connsiteX2" fmla="*/ 6411030 w 7877880"/>
                <a:gd name="connsiteY2" fmla="*/ 1628775 h 3223170"/>
                <a:gd name="connsiteX3" fmla="*/ 5277555 w 7877880"/>
                <a:gd name="connsiteY3" fmla="*/ 1628775 h 3223170"/>
                <a:gd name="connsiteX4" fmla="*/ 3086805 w 7877880"/>
                <a:gd name="connsiteY4" fmla="*/ 3133725 h 3223170"/>
                <a:gd name="connsiteX5" fmla="*/ 562680 w 7877880"/>
                <a:gd name="connsiteY5" fmla="*/ 3028950 h 3223170"/>
                <a:gd name="connsiteX6" fmla="*/ 38805 w 7877880"/>
                <a:gd name="connsiteY6" fmla="*/ 2752725 h 3223170"/>
                <a:gd name="connsiteX7" fmla="*/ 38805 w 7877880"/>
                <a:gd name="connsiteY7" fmla="*/ 2743200 h 3223170"/>
                <a:gd name="connsiteX8" fmla="*/ 48330 w 7877880"/>
                <a:gd name="connsiteY8" fmla="*/ 0 h 3223170"/>
                <a:gd name="connsiteX9" fmla="*/ 48330 w 7877880"/>
                <a:gd name="connsiteY9" fmla="*/ 0 h 3223170"/>
                <a:gd name="connsiteX10" fmla="*/ 48330 w 7877880"/>
                <a:gd name="connsiteY10" fmla="*/ 0 h 3223170"/>
                <a:gd name="connsiteX0" fmla="*/ 115005 w 7877880"/>
                <a:gd name="connsiteY0" fmla="*/ 0 h 3247106"/>
                <a:gd name="connsiteX1" fmla="*/ 7877880 w 7877880"/>
                <a:gd name="connsiteY1" fmla="*/ 0 h 3247106"/>
                <a:gd name="connsiteX2" fmla="*/ 6411030 w 7877880"/>
                <a:gd name="connsiteY2" fmla="*/ 1628775 h 3247106"/>
                <a:gd name="connsiteX3" fmla="*/ 5277555 w 7877880"/>
                <a:gd name="connsiteY3" fmla="*/ 1628775 h 3247106"/>
                <a:gd name="connsiteX4" fmla="*/ 3039180 w 7877880"/>
                <a:gd name="connsiteY4" fmla="*/ 3162300 h 3247106"/>
                <a:gd name="connsiteX5" fmla="*/ 562680 w 7877880"/>
                <a:gd name="connsiteY5" fmla="*/ 3028950 h 3247106"/>
                <a:gd name="connsiteX6" fmla="*/ 38805 w 7877880"/>
                <a:gd name="connsiteY6" fmla="*/ 2752725 h 3247106"/>
                <a:gd name="connsiteX7" fmla="*/ 38805 w 7877880"/>
                <a:gd name="connsiteY7" fmla="*/ 2743200 h 3247106"/>
                <a:gd name="connsiteX8" fmla="*/ 48330 w 7877880"/>
                <a:gd name="connsiteY8" fmla="*/ 0 h 3247106"/>
                <a:gd name="connsiteX9" fmla="*/ 48330 w 7877880"/>
                <a:gd name="connsiteY9" fmla="*/ 0 h 3247106"/>
                <a:gd name="connsiteX10" fmla="*/ 48330 w 7877880"/>
                <a:gd name="connsiteY10" fmla="*/ 0 h 3247106"/>
                <a:gd name="connsiteX0" fmla="*/ 115005 w 7877880"/>
                <a:gd name="connsiteY0" fmla="*/ 0 h 3246866"/>
                <a:gd name="connsiteX1" fmla="*/ 7877880 w 7877880"/>
                <a:gd name="connsiteY1" fmla="*/ 0 h 3246866"/>
                <a:gd name="connsiteX2" fmla="*/ 6411030 w 7877880"/>
                <a:gd name="connsiteY2" fmla="*/ 1628775 h 3246866"/>
                <a:gd name="connsiteX3" fmla="*/ 5277555 w 7877880"/>
                <a:gd name="connsiteY3" fmla="*/ 1628775 h 3246866"/>
                <a:gd name="connsiteX4" fmla="*/ 3039180 w 7877880"/>
                <a:gd name="connsiteY4" fmla="*/ 3162300 h 3246866"/>
                <a:gd name="connsiteX5" fmla="*/ 562680 w 7877880"/>
                <a:gd name="connsiteY5" fmla="*/ 3028950 h 3246866"/>
                <a:gd name="connsiteX6" fmla="*/ 38805 w 7877880"/>
                <a:gd name="connsiteY6" fmla="*/ 2752725 h 3246866"/>
                <a:gd name="connsiteX7" fmla="*/ 38805 w 7877880"/>
                <a:gd name="connsiteY7" fmla="*/ 2743200 h 3246866"/>
                <a:gd name="connsiteX8" fmla="*/ 48330 w 7877880"/>
                <a:gd name="connsiteY8" fmla="*/ 0 h 3246866"/>
                <a:gd name="connsiteX9" fmla="*/ 48330 w 7877880"/>
                <a:gd name="connsiteY9" fmla="*/ 0 h 3246866"/>
                <a:gd name="connsiteX10" fmla="*/ 48330 w 7877880"/>
                <a:gd name="connsiteY10" fmla="*/ 0 h 3246866"/>
                <a:gd name="connsiteX0" fmla="*/ 115005 w 7877880"/>
                <a:gd name="connsiteY0" fmla="*/ 0 h 3263770"/>
                <a:gd name="connsiteX1" fmla="*/ 7877880 w 7877880"/>
                <a:gd name="connsiteY1" fmla="*/ 0 h 3263770"/>
                <a:gd name="connsiteX2" fmla="*/ 6411030 w 7877880"/>
                <a:gd name="connsiteY2" fmla="*/ 1628775 h 3263770"/>
                <a:gd name="connsiteX3" fmla="*/ 5277555 w 7877880"/>
                <a:gd name="connsiteY3" fmla="*/ 1628775 h 3263770"/>
                <a:gd name="connsiteX4" fmla="*/ 3039180 w 7877880"/>
                <a:gd name="connsiteY4" fmla="*/ 3162300 h 3263770"/>
                <a:gd name="connsiteX5" fmla="*/ 562680 w 7877880"/>
                <a:gd name="connsiteY5" fmla="*/ 3028950 h 3263770"/>
                <a:gd name="connsiteX6" fmla="*/ 38805 w 7877880"/>
                <a:gd name="connsiteY6" fmla="*/ 2752725 h 3263770"/>
                <a:gd name="connsiteX7" fmla="*/ 38805 w 7877880"/>
                <a:gd name="connsiteY7" fmla="*/ 2743200 h 3263770"/>
                <a:gd name="connsiteX8" fmla="*/ 48330 w 7877880"/>
                <a:gd name="connsiteY8" fmla="*/ 0 h 3263770"/>
                <a:gd name="connsiteX9" fmla="*/ 48330 w 7877880"/>
                <a:gd name="connsiteY9" fmla="*/ 0 h 3263770"/>
                <a:gd name="connsiteX10" fmla="*/ 48330 w 7877880"/>
                <a:gd name="connsiteY10" fmla="*/ 0 h 3263770"/>
                <a:gd name="connsiteX0" fmla="*/ 136172 w 7899047"/>
                <a:gd name="connsiteY0" fmla="*/ 0 h 3287025"/>
                <a:gd name="connsiteX1" fmla="*/ 7899047 w 7899047"/>
                <a:gd name="connsiteY1" fmla="*/ 0 h 3287025"/>
                <a:gd name="connsiteX2" fmla="*/ 6432197 w 7899047"/>
                <a:gd name="connsiteY2" fmla="*/ 1628775 h 3287025"/>
                <a:gd name="connsiteX3" fmla="*/ 5298722 w 7899047"/>
                <a:gd name="connsiteY3" fmla="*/ 1628775 h 3287025"/>
                <a:gd name="connsiteX4" fmla="*/ 3060347 w 7899047"/>
                <a:gd name="connsiteY4" fmla="*/ 3162300 h 3287025"/>
                <a:gd name="connsiteX5" fmla="*/ 869597 w 7899047"/>
                <a:gd name="connsiteY5" fmla="*/ 3086100 h 3287025"/>
                <a:gd name="connsiteX6" fmla="*/ 59972 w 7899047"/>
                <a:gd name="connsiteY6" fmla="*/ 2752725 h 3287025"/>
                <a:gd name="connsiteX7" fmla="*/ 59972 w 7899047"/>
                <a:gd name="connsiteY7" fmla="*/ 2743200 h 3287025"/>
                <a:gd name="connsiteX8" fmla="*/ 69497 w 7899047"/>
                <a:gd name="connsiteY8" fmla="*/ 0 h 3287025"/>
                <a:gd name="connsiteX9" fmla="*/ 69497 w 7899047"/>
                <a:gd name="connsiteY9" fmla="*/ 0 h 3287025"/>
                <a:gd name="connsiteX10" fmla="*/ 69497 w 7899047"/>
                <a:gd name="connsiteY10" fmla="*/ 0 h 3287025"/>
                <a:gd name="connsiteX0" fmla="*/ 136172 w 7899047"/>
                <a:gd name="connsiteY0" fmla="*/ 0 h 3245268"/>
                <a:gd name="connsiteX1" fmla="*/ 7899047 w 7899047"/>
                <a:gd name="connsiteY1" fmla="*/ 0 h 3245268"/>
                <a:gd name="connsiteX2" fmla="*/ 6432197 w 7899047"/>
                <a:gd name="connsiteY2" fmla="*/ 1628775 h 3245268"/>
                <a:gd name="connsiteX3" fmla="*/ 5298722 w 7899047"/>
                <a:gd name="connsiteY3" fmla="*/ 1628775 h 3245268"/>
                <a:gd name="connsiteX4" fmla="*/ 3060347 w 7899047"/>
                <a:gd name="connsiteY4" fmla="*/ 3162300 h 3245268"/>
                <a:gd name="connsiteX5" fmla="*/ 869597 w 7899047"/>
                <a:gd name="connsiteY5" fmla="*/ 3086100 h 3245268"/>
                <a:gd name="connsiteX6" fmla="*/ 59972 w 7899047"/>
                <a:gd name="connsiteY6" fmla="*/ 2752725 h 3245268"/>
                <a:gd name="connsiteX7" fmla="*/ 59972 w 7899047"/>
                <a:gd name="connsiteY7" fmla="*/ 2743200 h 3245268"/>
                <a:gd name="connsiteX8" fmla="*/ 69497 w 7899047"/>
                <a:gd name="connsiteY8" fmla="*/ 0 h 3245268"/>
                <a:gd name="connsiteX9" fmla="*/ 69497 w 7899047"/>
                <a:gd name="connsiteY9" fmla="*/ 0 h 3245268"/>
                <a:gd name="connsiteX10" fmla="*/ 69497 w 7899047"/>
                <a:gd name="connsiteY10" fmla="*/ 0 h 3245268"/>
                <a:gd name="connsiteX0" fmla="*/ 136172 w 7899047"/>
                <a:gd name="connsiteY0" fmla="*/ 0 h 3245268"/>
                <a:gd name="connsiteX1" fmla="*/ 7899047 w 7899047"/>
                <a:gd name="connsiteY1" fmla="*/ 0 h 3245268"/>
                <a:gd name="connsiteX2" fmla="*/ 6432197 w 7899047"/>
                <a:gd name="connsiteY2" fmla="*/ 1628775 h 3245268"/>
                <a:gd name="connsiteX3" fmla="*/ 5298722 w 7899047"/>
                <a:gd name="connsiteY3" fmla="*/ 1628775 h 3245268"/>
                <a:gd name="connsiteX4" fmla="*/ 3060347 w 7899047"/>
                <a:gd name="connsiteY4" fmla="*/ 3162300 h 3245268"/>
                <a:gd name="connsiteX5" fmla="*/ 869597 w 7899047"/>
                <a:gd name="connsiteY5" fmla="*/ 3086100 h 3245268"/>
                <a:gd name="connsiteX6" fmla="*/ 59972 w 7899047"/>
                <a:gd name="connsiteY6" fmla="*/ 2752725 h 3245268"/>
                <a:gd name="connsiteX7" fmla="*/ 59972 w 7899047"/>
                <a:gd name="connsiteY7" fmla="*/ 2743200 h 3245268"/>
                <a:gd name="connsiteX8" fmla="*/ 69497 w 7899047"/>
                <a:gd name="connsiteY8" fmla="*/ 0 h 3245268"/>
                <a:gd name="connsiteX9" fmla="*/ 69497 w 7899047"/>
                <a:gd name="connsiteY9" fmla="*/ 0 h 3245268"/>
                <a:gd name="connsiteX10" fmla="*/ 69497 w 7899047"/>
                <a:gd name="connsiteY10" fmla="*/ 0 h 3245268"/>
                <a:gd name="connsiteX0" fmla="*/ 136172 w 7899047"/>
                <a:gd name="connsiteY0" fmla="*/ 0 h 3223853"/>
                <a:gd name="connsiteX1" fmla="*/ 7899047 w 7899047"/>
                <a:gd name="connsiteY1" fmla="*/ 0 h 3223853"/>
                <a:gd name="connsiteX2" fmla="*/ 6432197 w 7899047"/>
                <a:gd name="connsiteY2" fmla="*/ 1628775 h 3223853"/>
                <a:gd name="connsiteX3" fmla="*/ 5298722 w 7899047"/>
                <a:gd name="connsiteY3" fmla="*/ 1628775 h 3223853"/>
                <a:gd name="connsiteX4" fmla="*/ 3041297 w 7899047"/>
                <a:gd name="connsiteY4" fmla="*/ 3162300 h 3223853"/>
                <a:gd name="connsiteX5" fmla="*/ 869597 w 7899047"/>
                <a:gd name="connsiteY5" fmla="*/ 3086100 h 3223853"/>
                <a:gd name="connsiteX6" fmla="*/ 59972 w 7899047"/>
                <a:gd name="connsiteY6" fmla="*/ 2752725 h 3223853"/>
                <a:gd name="connsiteX7" fmla="*/ 59972 w 7899047"/>
                <a:gd name="connsiteY7" fmla="*/ 2743200 h 3223853"/>
                <a:gd name="connsiteX8" fmla="*/ 69497 w 7899047"/>
                <a:gd name="connsiteY8" fmla="*/ 0 h 3223853"/>
                <a:gd name="connsiteX9" fmla="*/ 69497 w 7899047"/>
                <a:gd name="connsiteY9" fmla="*/ 0 h 3223853"/>
                <a:gd name="connsiteX10" fmla="*/ 69497 w 7899047"/>
                <a:gd name="connsiteY10" fmla="*/ 0 h 3223853"/>
                <a:gd name="connsiteX0" fmla="*/ 136172 w 7899047"/>
                <a:gd name="connsiteY0" fmla="*/ 0 h 3266003"/>
                <a:gd name="connsiteX1" fmla="*/ 7899047 w 7899047"/>
                <a:gd name="connsiteY1" fmla="*/ 0 h 3266003"/>
                <a:gd name="connsiteX2" fmla="*/ 6432197 w 7899047"/>
                <a:gd name="connsiteY2" fmla="*/ 1628775 h 3266003"/>
                <a:gd name="connsiteX3" fmla="*/ 5298722 w 7899047"/>
                <a:gd name="connsiteY3" fmla="*/ 1628775 h 3266003"/>
                <a:gd name="connsiteX4" fmla="*/ 3041297 w 7899047"/>
                <a:gd name="connsiteY4" fmla="*/ 3162300 h 3266003"/>
                <a:gd name="connsiteX5" fmla="*/ 869597 w 7899047"/>
                <a:gd name="connsiteY5" fmla="*/ 3086100 h 3266003"/>
                <a:gd name="connsiteX6" fmla="*/ 59972 w 7899047"/>
                <a:gd name="connsiteY6" fmla="*/ 2752725 h 3266003"/>
                <a:gd name="connsiteX7" fmla="*/ 59972 w 7899047"/>
                <a:gd name="connsiteY7" fmla="*/ 2743200 h 3266003"/>
                <a:gd name="connsiteX8" fmla="*/ 69497 w 7899047"/>
                <a:gd name="connsiteY8" fmla="*/ 0 h 3266003"/>
                <a:gd name="connsiteX9" fmla="*/ 69497 w 7899047"/>
                <a:gd name="connsiteY9" fmla="*/ 0 h 3266003"/>
                <a:gd name="connsiteX10" fmla="*/ 69497 w 7899047"/>
                <a:gd name="connsiteY10" fmla="*/ 0 h 3266003"/>
                <a:gd name="connsiteX0" fmla="*/ 297038 w 8059913"/>
                <a:gd name="connsiteY0" fmla="*/ 0 h 3202330"/>
                <a:gd name="connsiteX1" fmla="*/ 8059913 w 8059913"/>
                <a:gd name="connsiteY1" fmla="*/ 0 h 3202330"/>
                <a:gd name="connsiteX2" fmla="*/ 6593063 w 8059913"/>
                <a:gd name="connsiteY2" fmla="*/ 1628775 h 3202330"/>
                <a:gd name="connsiteX3" fmla="*/ 5459588 w 8059913"/>
                <a:gd name="connsiteY3" fmla="*/ 1628775 h 3202330"/>
                <a:gd name="connsiteX4" fmla="*/ 3202163 w 8059913"/>
                <a:gd name="connsiteY4" fmla="*/ 3162300 h 3202330"/>
                <a:gd name="connsiteX5" fmla="*/ 220838 w 8059913"/>
                <a:gd name="connsiteY5" fmla="*/ 2752725 h 3202330"/>
                <a:gd name="connsiteX6" fmla="*/ 220838 w 8059913"/>
                <a:gd name="connsiteY6" fmla="*/ 2743200 h 3202330"/>
                <a:gd name="connsiteX7" fmla="*/ 230363 w 8059913"/>
                <a:gd name="connsiteY7" fmla="*/ 0 h 3202330"/>
                <a:gd name="connsiteX8" fmla="*/ 230363 w 8059913"/>
                <a:gd name="connsiteY8" fmla="*/ 0 h 3202330"/>
                <a:gd name="connsiteX9" fmla="*/ 230363 w 8059913"/>
                <a:gd name="connsiteY9" fmla="*/ 0 h 3202330"/>
                <a:gd name="connsiteX0" fmla="*/ 244123 w 8006998"/>
                <a:gd name="connsiteY0" fmla="*/ 0 h 3238500"/>
                <a:gd name="connsiteX1" fmla="*/ 8006998 w 8006998"/>
                <a:gd name="connsiteY1" fmla="*/ 0 h 3238500"/>
                <a:gd name="connsiteX2" fmla="*/ 6540148 w 8006998"/>
                <a:gd name="connsiteY2" fmla="*/ 1628775 h 3238500"/>
                <a:gd name="connsiteX3" fmla="*/ 5406673 w 8006998"/>
                <a:gd name="connsiteY3" fmla="*/ 1628775 h 3238500"/>
                <a:gd name="connsiteX4" fmla="*/ 2434873 w 8006998"/>
                <a:gd name="connsiteY4" fmla="*/ 3238500 h 3238500"/>
                <a:gd name="connsiteX5" fmla="*/ 167923 w 8006998"/>
                <a:gd name="connsiteY5" fmla="*/ 2752725 h 3238500"/>
                <a:gd name="connsiteX6" fmla="*/ 167923 w 8006998"/>
                <a:gd name="connsiteY6" fmla="*/ 2743200 h 3238500"/>
                <a:gd name="connsiteX7" fmla="*/ 177448 w 8006998"/>
                <a:gd name="connsiteY7" fmla="*/ 0 h 3238500"/>
                <a:gd name="connsiteX8" fmla="*/ 177448 w 8006998"/>
                <a:gd name="connsiteY8" fmla="*/ 0 h 3238500"/>
                <a:gd name="connsiteX9" fmla="*/ 177448 w 8006998"/>
                <a:gd name="connsiteY9" fmla="*/ 0 h 3238500"/>
                <a:gd name="connsiteX0" fmla="*/ 244123 w 8006998"/>
                <a:gd name="connsiteY0" fmla="*/ 0 h 3242774"/>
                <a:gd name="connsiteX1" fmla="*/ 8006998 w 8006998"/>
                <a:gd name="connsiteY1" fmla="*/ 0 h 3242774"/>
                <a:gd name="connsiteX2" fmla="*/ 6540148 w 8006998"/>
                <a:gd name="connsiteY2" fmla="*/ 1628775 h 3242774"/>
                <a:gd name="connsiteX3" fmla="*/ 5406673 w 8006998"/>
                <a:gd name="connsiteY3" fmla="*/ 1628775 h 3242774"/>
                <a:gd name="connsiteX4" fmla="*/ 2434873 w 8006998"/>
                <a:gd name="connsiteY4" fmla="*/ 3238500 h 3242774"/>
                <a:gd name="connsiteX5" fmla="*/ 167923 w 8006998"/>
                <a:gd name="connsiteY5" fmla="*/ 2752725 h 3242774"/>
                <a:gd name="connsiteX6" fmla="*/ 167923 w 8006998"/>
                <a:gd name="connsiteY6" fmla="*/ 2743200 h 3242774"/>
                <a:gd name="connsiteX7" fmla="*/ 177448 w 8006998"/>
                <a:gd name="connsiteY7" fmla="*/ 0 h 3242774"/>
                <a:gd name="connsiteX8" fmla="*/ 177448 w 8006998"/>
                <a:gd name="connsiteY8" fmla="*/ 0 h 3242774"/>
                <a:gd name="connsiteX9" fmla="*/ 177448 w 8006998"/>
                <a:gd name="connsiteY9" fmla="*/ 0 h 3242774"/>
                <a:gd name="connsiteX0" fmla="*/ 244123 w 8006998"/>
                <a:gd name="connsiteY0" fmla="*/ 0 h 3238724"/>
                <a:gd name="connsiteX1" fmla="*/ 8006998 w 8006998"/>
                <a:gd name="connsiteY1" fmla="*/ 0 h 3238724"/>
                <a:gd name="connsiteX2" fmla="*/ 6540148 w 8006998"/>
                <a:gd name="connsiteY2" fmla="*/ 1628775 h 3238724"/>
                <a:gd name="connsiteX3" fmla="*/ 5406673 w 8006998"/>
                <a:gd name="connsiteY3" fmla="*/ 1628775 h 3238724"/>
                <a:gd name="connsiteX4" fmla="*/ 2434873 w 8006998"/>
                <a:gd name="connsiteY4" fmla="*/ 3238500 h 3238724"/>
                <a:gd name="connsiteX5" fmla="*/ 167923 w 8006998"/>
                <a:gd name="connsiteY5" fmla="*/ 2752725 h 3238724"/>
                <a:gd name="connsiteX6" fmla="*/ 167923 w 8006998"/>
                <a:gd name="connsiteY6" fmla="*/ 2743200 h 3238724"/>
                <a:gd name="connsiteX7" fmla="*/ 177448 w 8006998"/>
                <a:gd name="connsiteY7" fmla="*/ 0 h 3238724"/>
                <a:gd name="connsiteX8" fmla="*/ 177448 w 8006998"/>
                <a:gd name="connsiteY8" fmla="*/ 0 h 3238724"/>
                <a:gd name="connsiteX9" fmla="*/ 177448 w 8006998"/>
                <a:gd name="connsiteY9" fmla="*/ 0 h 3238724"/>
                <a:gd name="connsiteX0" fmla="*/ 244123 w 8006998"/>
                <a:gd name="connsiteY0" fmla="*/ 0 h 3238724"/>
                <a:gd name="connsiteX1" fmla="*/ 8006998 w 8006998"/>
                <a:gd name="connsiteY1" fmla="*/ 0 h 3238724"/>
                <a:gd name="connsiteX2" fmla="*/ 6540148 w 8006998"/>
                <a:gd name="connsiteY2" fmla="*/ 1628775 h 3238724"/>
                <a:gd name="connsiteX3" fmla="*/ 5406673 w 8006998"/>
                <a:gd name="connsiteY3" fmla="*/ 1628775 h 3238724"/>
                <a:gd name="connsiteX4" fmla="*/ 2434873 w 8006998"/>
                <a:gd name="connsiteY4" fmla="*/ 3238500 h 3238724"/>
                <a:gd name="connsiteX5" fmla="*/ 167923 w 8006998"/>
                <a:gd name="connsiteY5" fmla="*/ 2752725 h 3238724"/>
                <a:gd name="connsiteX6" fmla="*/ 167923 w 8006998"/>
                <a:gd name="connsiteY6" fmla="*/ 2743200 h 3238724"/>
                <a:gd name="connsiteX7" fmla="*/ 177448 w 8006998"/>
                <a:gd name="connsiteY7" fmla="*/ 0 h 3238724"/>
                <a:gd name="connsiteX8" fmla="*/ 177448 w 8006998"/>
                <a:gd name="connsiteY8" fmla="*/ 0 h 3238724"/>
                <a:gd name="connsiteX9" fmla="*/ 177448 w 8006998"/>
                <a:gd name="connsiteY9" fmla="*/ 0 h 3238724"/>
                <a:gd name="connsiteX0" fmla="*/ 244123 w 8006998"/>
                <a:gd name="connsiteY0" fmla="*/ 0 h 3238682"/>
                <a:gd name="connsiteX1" fmla="*/ 8006998 w 8006998"/>
                <a:gd name="connsiteY1" fmla="*/ 0 h 3238682"/>
                <a:gd name="connsiteX2" fmla="*/ 6540148 w 8006998"/>
                <a:gd name="connsiteY2" fmla="*/ 1628775 h 3238682"/>
                <a:gd name="connsiteX3" fmla="*/ 5406673 w 8006998"/>
                <a:gd name="connsiteY3" fmla="*/ 1628775 h 3238682"/>
                <a:gd name="connsiteX4" fmla="*/ 2434873 w 8006998"/>
                <a:gd name="connsiteY4" fmla="*/ 3238500 h 3238682"/>
                <a:gd name="connsiteX5" fmla="*/ 167923 w 8006998"/>
                <a:gd name="connsiteY5" fmla="*/ 2752725 h 3238682"/>
                <a:gd name="connsiteX6" fmla="*/ 167923 w 8006998"/>
                <a:gd name="connsiteY6" fmla="*/ 2743200 h 3238682"/>
                <a:gd name="connsiteX7" fmla="*/ 177448 w 8006998"/>
                <a:gd name="connsiteY7" fmla="*/ 0 h 3238682"/>
                <a:gd name="connsiteX8" fmla="*/ 177448 w 8006998"/>
                <a:gd name="connsiteY8" fmla="*/ 0 h 3238682"/>
                <a:gd name="connsiteX9" fmla="*/ 177448 w 8006998"/>
                <a:gd name="connsiteY9" fmla="*/ 0 h 3238682"/>
                <a:gd name="connsiteX0" fmla="*/ 244123 w 8006998"/>
                <a:gd name="connsiteY0" fmla="*/ 0 h 3238682"/>
                <a:gd name="connsiteX1" fmla="*/ 8006998 w 8006998"/>
                <a:gd name="connsiteY1" fmla="*/ 0 h 3238682"/>
                <a:gd name="connsiteX2" fmla="*/ 6540148 w 8006998"/>
                <a:gd name="connsiteY2" fmla="*/ 1628775 h 3238682"/>
                <a:gd name="connsiteX3" fmla="*/ 5406673 w 8006998"/>
                <a:gd name="connsiteY3" fmla="*/ 1628775 h 3238682"/>
                <a:gd name="connsiteX4" fmla="*/ 2434873 w 8006998"/>
                <a:gd name="connsiteY4" fmla="*/ 3238500 h 3238682"/>
                <a:gd name="connsiteX5" fmla="*/ 167923 w 8006998"/>
                <a:gd name="connsiteY5" fmla="*/ 2752725 h 3238682"/>
                <a:gd name="connsiteX6" fmla="*/ 167923 w 8006998"/>
                <a:gd name="connsiteY6" fmla="*/ 2743200 h 3238682"/>
                <a:gd name="connsiteX7" fmla="*/ 177448 w 8006998"/>
                <a:gd name="connsiteY7" fmla="*/ 0 h 3238682"/>
                <a:gd name="connsiteX8" fmla="*/ 177448 w 8006998"/>
                <a:gd name="connsiteY8" fmla="*/ 0 h 3238682"/>
                <a:gd name="connsiteX9" fmla="*/ 177448 w 8006998"/>
                <a:gd name="connsiteY9" fmla="*/ 0 h 3238682"/>
                <a:gd name="connsiteX0" fmla="*/ 246980 w 8009855"/>
                <a:gd name="connsiteY0" fmla="*/ 0 h 3238682"/>
                <a:gd name="connsiteX1" fmla="*/ 8009855 w 8009855"/>
                <a:gd name="connsiteY1" fmla="*/ 0 h 3238682"/>
                <a:gd name="connsiteX2" fmla="*/ 6543005 w 8009855"/>
                <a:gd name="connsiteY2" fmla="*/ 1628775 h 3238682"/>
                <a:gd name="connsiteX3" fmla="*/ 5409530 w 8009855"/>
                <a:gd name="connsiteY3" fmla="*/ 1628775 h 3238682"/>
                <a:gd name="connsiteX4" fmla="*/ 2437730 w 8009855"/>
                <a:gd name="connsiteY4" fmla="*/ 3238500 h 3238682"/>
                <a:gd name="connsiteX5" fmla="*/ 170780 w 8009855"/>
                <a:gd name="connsiteY5" fmla="*/ 2752725 h 3238682"/>
                <a:gd name="connsiteX6" fmla="*/ 170780 w 8009855"/>
                <a:gd name="connsiteY6" fmla="*/ 2743200 h 3238682"/>
                <a:gd name="connsiteX7" fmla="*/ 180305 w 8009855"/>
                <a:gd name="connsiteY7" fmla="*/ 0 h 3238682"/>
                <a:gd name="connsiteX8" fmla="*/ 180305 w 8009855"/>
                <a:gd name="connsiteY8" fmla="*/ 0 h 3238682"/>
                <a:gd name="connsiteX9" fmla="*/ 180305 w 8009855"/>
                <a:gd name="connsiteY9" fmla="*/ 0 h 3238682"/>
                <a:gd name="connsiteX0" fmla="*/ 244831 w 8007706"/>
                <a:gd name="connsiteY0" fmla="*/ 0 h 3238682"/>
                <a:gd name="connsiteX1" fmla="*/ 8007706 w 8007706"/>
                <a:gd name="connsiteY1" fmla="*/ 0 h 3238682"/>
                <a:gd name="connsiteX2" fmla="*/ 6540856 w 8007706"/>
                <a:gd name="connsiteY2" fmla="*/ 1628775 h 3238682"/>
                <a:gd name="connsiteX3" fmla="*/ 5407381 w 8007706"/>
                <a:gd name="connsiteY3" fmla="*/ 1628775 h 3238682"/>
                <a:gd name="connsiteX4" fmla="*/ 2435581 w 8007706"/>
                <a:gd name="connsiteY4" fmla="*/ 3238500 h 3238682"/>
                <a:gd name="connsiteX5" fmla="*/ 168631 w 8007706"/>
                <a:gd name="connsiteY5" fmla="*/ 2752725 h 3238682"/>
                <a:gd name="connsiteX6" fmla="*/ 168631 w 8007706"/>
                <a:gd name="connsiteY6" fmla="*/ 2743200 h 3238682"/>
                <a:gd name="connsiteX7" fmla="*/ 178156 w 8007706"/>
                <a:gd name="connsiteY7" fmla="*/ 0 h 3238682"/>
                <a:gd name="connsiteX8" fmla="*/ 178156 w 8007706"/>
                <a:gd name="connsiteY8" fmla="*/ 0 h 3238682"/>
                <a:gd name="connsiteX9" fmla="*/ 178156 w 8007706"/>
                <a:gd name="connsiteY9" fmla="*/ 0 h 3238682"/>
                <a:gd name="connsiteX0" fmla="*/ 244831 w 8007706"/>
                <a:gd name="connsiteY0" fmla="*/ 0 h 3246785"/>
                <a:gd name="connsiteX1" fmla="*/ 8007706 w 8007706"/>
                <a:gd name="connsiteY1" fmla="*/ 0 h 3246785"/>
                <a:gd name="connsiteX2" fmla="*/ 6540856 w 8007706"/>
                <a:gd name="connsiteY2" fmla="*/ 1628775 h 3246785"/>
                <a:gd name="connsiteX3" fmla="*/ 5407381 w 8007706"/>
                <a:gd name="connsiteY3" fmla="*/ 1628775 h 3246785"/>
                <a:gd name="connsiteX4" fmla="*/ 2435581 w 8007706"/>
                <a:gd name="connsiteY4" fmla="*/ 3238500 h 3246785"/>
                <a:gd name="connsiteX5" fmla="*/ 168631 w 8007706"/>
                <a:gd name="connsiteY5" fmla="*/ 2752725 h 3246785"/>
                <a:gd name="connsiteX6" fmla="*/ 168631 w 8007706"/>
                <a:gd name="connsiteY6" fmla="*/ 2743200 h 3246785"/>
                <a:gd name="connsiteX7" fmla="*/ 178156 w 8007706"/>
                <a:gd name="connsiteY7" fmla="*/ 0 h 3246785"/>
                <a:gd name="connsiteX8" fmla="*/ 178156 w 8007706"/>
                <a:gd name="connsiteY8" fmla="*/ 0 h 3246785"/>
                <a:gd name="connsiteX9" fmla="*/ 178156 w 8007706"/>
                <a:gd name="connsiteY9" fmla="*/ 0 h 3246785"/>
                <a:gd name="connsiteX0" fmla="*/ 223706 w 7986581"/>
                <a:gd name="connsiteY0" fmla="*/ 0 h 3246785"/>
                <a:gd name="connsiteX1" fmla="*/ 7986581 w 7986581"/>
                <a:gd name="connsiteY1" fmla="*/ 0 h 3246785"/>
                <a:gd name="connsiteX2" fmla="*/ 6519731 w 7986581"/>
                <a:gd name="connsiteY2" fmla="*/ 1628775 h 3246785"/>
                <a:gd name="connsiteX3" fmla="*/ 5386256 w 7986581"/>
                <a:gd name="connsiteY3" fmla="*/ 1628775 h 3246785"/>
                <a:gd name="connsiteX4" fmla="*/ 2414456 w 7986581"/>
                <a:gd name="connsiteY4" fmla="*/ 3238500 h 3246785"/>
                <a:gd name="connsiteX5" fmla="*/ 147506 w 7986581"/>
                <a:gd name="connsiteY5" fmla="*/ 2752725 h 3246785"/>
                <a:gd name="connsiteX6" fmla="*/ 147506 w 7986581"/>
                <a:gd name="connsiteY6" fmla="*/ 2743200 h 3246785"/>
                <a:gd name="connsiteX7" fmla="*/ 157031 w 7986581"/>
                <a:gd name="connsiteY7" fmla="*/ 0 h 3246785"/>
                <a:gd name="connsiteX8" fmla="*/ 157031 w 7986581"/>
                <a:gd name="connsiteY8" fmla="*/ 0 h 3246785"/>
                <a:gd name="connsiteX9" fmla="*/ 157031 w 7986581"/>
                <a:gd name="connsiteY9" fmla="*/ 0 h 3246785"/>
                <a:gd name="connsiteX0" fmla="*/ 270776 w 8033651"/>
                <a:gd name="connsiteY0" fmla="*/ 0 h 3246785"/>
                <a:gd name="connsiteX1" fmla="*/ 8033651 w 8033651"/>
                <a:gd name="connsiteY1" fmla="*/ 0 h 3246785"/>
                <a:gd name="connsiteX2" fmla="*/ 6566801 w 8033651"/>
                <a:gd name="connsiteY2" fmla="*/ 1628775 h 3246785"/>
                <a:gd name="connsiteX3" fmla="*/ 5433326 w 8033651"/>
                <a:gd name="connsiteY3" fmla="*/ 1628775 h 3246785"/>
                <a:gd name="connsiteX4" fmla="*/ 2461526 w 8033651"/>
                <a:gd name="connsiteY4" fmla="*/ 3238500 h 3246785"/>
                <a:gd name="connsiteX5" fmla="*/ 194576 w 8033651"/>
                <a:gd name="connsiteY5" fmla="*/ 2752725 h 3246785"/>
                <a:gd name="connsiteX6" fmla="*/ 194576 w 8033651"/>
                <a:gd name="connsiteY6" fmla="*/ 2743200 h 3246785"/>
                <a:gd name="connsiteX7" fmla="*/ 204101 w 8033651"/>
                <a:gd name="connsiteY7" fmla="*/ 0 h 3246785"/>
                <a:gd name="connsiteX8" fmla="*/ 204101 w 8033651"/>
                <a:gd name="connsiteY8" fmla="*/ 0 h 3246785"/>
                <a:gd name="connsiteX9" fmla="*/ 204101 w 8033651"/>
                <a:gd name="connsiteY9" fmla="*/ 0 h 3246785"/>
                <a:gd name="connsiteX0" fmla="*/ 241327 w 8004202"/>
                <a:gd name="connsiteY0" fmla="*/ 0 h 3270894"/>
                <a:gd name="connsiteX1" fmla="*/ 8004202 w 8004202"/>
                <a:gd name="connsiteY1" fmla="*/ 0 h 3270894"/>
                <a:gd name="connsiteX2" fmla="*/ 6537352 w 8004202"/>
                <a:gd name="connsiteY2" fmla="*/ 1628775 h 3270894"/>
                <a:gd name="connsiteX3" fmla="*/ 5403877 w 8004202"/>
                <a:gd name="connsiteY3" fmla="*/ 1628775 h 3270894"/>
                <a:gd name="connsiteX4" fmla="*/ 2432077 w 8004202"/>
                <a:gd name="connsiteY4" fmla="*/ 3238500 h 3270894"/>
                <a:gd name="connsiteX5" fmla="*/ 165127 w 8004202"/>
                <a:gd name="connsiteY5" fmla="*/ 2752725 h 3270894"/>
                <a:gd name="connsiteX6" fmla="*/ 174652 w 8004202"/>
                <a:gd name="connsiteY6" fmla="*/ 0 h 3270894"/>
                <a:gd name="connsiteX7" fmla="*/ 174652 w 8004202"/>
                <a:gd name="connsiteY7" fmla="*/ 0 h 3270894"/>
                <a:gd name="connsiteX8" fmla="*/ 174652 w 8004202"/>
                <a:gd name="connsiteY8" fmla="*/ 0 h 3270894"/>
                <a:gd name="connsiteX0" fmla="*/ 219188 w 7982063"/>
                <a:gd name="connsiteY0" fmla="*/ 0 h 3335056"/>
                <a:gd name="connsiteX1" fmla="*/ 7982063 w 7982063"/>
                <a:gd name="connsiteY1" fmla="*/ 0 h 3335056"/>
                <a:gd name="connsiteX2" fmla="*/ 6515213 w 7982063"/>
                <a:gd name="connsiteY2" fmla="*/ 1628775 h 3335056"/>
                <a:gd name="connsiteX3" fmla="*/ 5381738 w 7982063"/>
                <a:gd name="connsiteY3" fmla="*/ 1628775 h 3335056"/>
                <a:gd name="connsiteX4" fmla="*/ 2409938 w 7982063"/>
                <a:gd name="connsiteY4" fmla="*/ 3238500 h 3335056"/>
                <a:gd name="connsiteX5" fmla="*/ 171563 w 7982063"/>
                <a:gd name="connsiteY5" fmla="*/ 2809875 h 3335056"/>
                <a:gd name="connsiteX6" fmla="*/ 152513 w 7982063"/>
                <a:gd name="connsiteY6" fmla="*/ 0 h 3335056"/>
                <a:gd name="connsiteX7" fmla="*/ 152513 w 7982063"/>
                <a:gd name="connsiteY7" fmla="*/ 0 h 3335056"/>
                <a:gd name="connsiteX8" fmla="*/ 152513 w 7982063"/>
                <a:gd name="connsiteY8" fmla="*/ 0 h 3335056"/>
                <a:gd name="connsiteX0" fmla="*/ 313921 w 8076796"/>
                <a:gd name="connsiteY0" fmla="*/ 0 h 3281767"/>
                <a:gd name="connsiteX1" fmla="*/ 8076796 w 8076796"/>
                <a:gd name="connsiteY1" fmla="*/ 0 h 3281767"/>
                <a:gd name="connsiteX2" fmla="*/ 6609946 w 8076796"/>
                <a:gd name="connsiteY2" fmla="*/ 1628775 h 3281767"/>
                <a:gd name="connsiteX3" fmla="*/ 5476471 w 8076796"/>
                <a:gd name="connsiteY3" fmla="*/ 1628775 h 3281767"/>
                <a:gd name="connsiteX4" fmla="*/ 2504671 w 8076796"/>
                <a:gd name="connsiteY4" fmla="*/ 3238500 h 3281767"/>
                <a:gd name="connsiteX5" fmla="*/ 266296 w 8076796"/>
                <a:gd name="connsiteY5" fmla="*/ 2809875 h 3281767"/>
                <a:gd name="connsiteX6" fmla="*/ 247246 w 8076796"/>
                <a:gd name="connsiteY6" fmla="*/ 0 h 3281767"/>
                <a:gd name="connsiteX7" fmla="*/ 247246 w 8076796"/>
                <a:gd name="connsiteY7" fmla="*/ 0 h 3281767"/>
                <a:gd name="connsiteX8" fmla="*/ 247246 w 8076796"/>
                <a:gd name="connsiteY8" fmla="*/ 0 h 3281767"/>
                <a:gd name="connsiteX0" fmla="*/ 306604 w 8069479"/>
                <a:gd name="connsiteY0" fmla="*/ 0 h 3278498"/>
                <a:gd name="connsiteX1" fmla="*/ 8069479 w 8069479"/>
                <a:gd name="connsiteY1" fmla="*/ 0 h 3278498"/>
                <a:gd name="connsiteX2" fmla="*/ 6602629 w 8069479"/>
                <a:gd name="connsiteY2" fmla="*/ 1628775 h 3278498"/>
                <a:gd name="connsiteX3" fmla="*/ 5469154 w 8069479"/>
                <a:gd name="connsiteY3" fmla="*/ 1628775 h 3278498"/>
                <a:gd name="connsiteX4" fmla="*/ 2497354 w 8069479"/>
                <a:gd name="connsiteY4" fmla="*/ 3238500 h 3278498"/>
                <a:gd name="connsiteX5" fmla="*/ 268504 w 8069479"/>
                <a:gd name="connsiteY5" fmla="*/ 2781300 h 3278498"/>
                <a:gd name="connsiteX6" fmla="*/ 239929 w 8069479"/>
                <a:gd name="connsiteY6" fmla="*/ 0 h 3278498"/>
                <a:gd name="connsiteX7" fmla="*/ 239929 w 8069479"/>
                <a:gd name="connsiteY7" fmla="*/ 0 h 3278498"/>
                <a:gd name="connsiteX8" fmla="*/ 239929 w 8069479"/>
                <a:gd name="connsiteY8" fmla="*/ 0 h 3278498"/>
                <a:gd name="connsiteX0" fmla="*/ 66675 w 7829550"/>
                <a:gd name="connsiteY0" fmla="*/ 0 h 3285761"/>
                <a:gd name="connsiteX1" fmla="*/ 7829550 w 7829550"/>
                <a:gd name="connsiteY1" fmla="*/ 0 h 3285761"/>
                <a:gd name="connsiteX2" fmla="*/ 6362700 w 7829550"/>
                <a:gd name="connsiteY2" fmla="*/ 1628775 h 3285761"/>
                <a:gd name="connsiteX3" fmla="*/ 5229225 w 7829550"/>
                <a:gd name="connsiteY3" fmla="*/ 1628775 h 3285761"/>
                <a:gd name="connsiteX4" fmla="*/ 2257425 w 7829550"/>
                <a:gd name="connsiteY4" fmla="*/ 3238500 h 3285761"/>
                <a:gd name="connsiteX5" fmla="*/ 28575 w 7829550"/>
                <a:gd name="connsiteY5" fmla="*/ 2781300 h 3285761"/>
                <a:gd name="connsiteX6" fmla="*/ 0 w 7829550"/>
                <a:gd name="connsiteY6" fmla="*/ 0 h 3285761"/>
                <a:gd name="connsiteX7" fmla="*/ 0 w 7829550"/>
                <a:gd name="connsiteY7" fmla="*/ 0 h 3285761"/>
                <a:gd name="connsiteX8" fmla="*/ 0 w 7829550"/>
                <a:gd name="connsiteY8" fmla="*/ 0 h 3285761"/>
                <a:gd name="connsiteX0" fmla="*/ 91126 w 7854001"/>
                <a:gd name="connsiteY0" fmla="*/ 0 h 3274776"/>
                <a:gd name="connsiteX1" fmla="*/ 7854001 w 7854001"/>
                <a:gd name="connsiteY1" fmla="*/ 0 h 3274776"/>
                <a:gd name="connsiteX2" fmla="*/ 6387151 w 7854001"/>
                <a:gd name="connsiteY2" fmla="*/ 1628775 h 3274776"/>
                <a:gd name="connsiteX3" fmla="*/ 5253676 w 7854001"/>
                <a:gd name="connsiteY3" fmla="*/ 1628775 h 3274776"/>
                <a:gd name="connsiteX4" fmla="*/ 2281876 w 7854001"/>
                <a:gd name="connsiteY4" fmla="*/ 3238500 h 3274776"/>
                <a:gd name="connsiteX5" fmla="*/ 53026 w 7854001"/>
                <a:gd name="connsiteY5" fmla="*/ 2781300 h 3274776"/>
                <a:gd name="connsiteX6" fmla="*/ 24451 w 7854001"/>
                <a:gd name="connsiteY6" fmla="*/ 0 h 3274776"/>
                <a:gd name="connsiteX7" fmla="*/ 24451 w 7854001"/>
                <a:gd name="connsiteY7" fmla="*/ 0 h 3274776"/>
                <a:gd name="connsiteX8" fmla="*/ 24451 w 7854001"/>
                <a:gd name="connsiteY8" fmla="*/ 0 h 3274776"/>
                <a:gd name="connsiteX0" fmla="*/ 66675 w 7829550"/>
                <a:gd name="connsiteY0" fmla="*/ 0 h 3274790"/>
                <a:gd name="connsiteX1" fmla="*/ 7829550 w 7829550"/>
                <a:gd name="connsiteY1" fmla="*/ 0 h 3274790"/>
                <a:gd name="connsiteX2" fmla="*/ 6362700 w 7829550"/>
                <a:gd name="connsiteY2" fmla="*/ 1628775 h 3274790"/>
                <a:gd name="connsiteX3" fmla="*/ 5229225 w 7829550"/>
                <a:gd name="connsiteY3" fmla="*/ 1628775 h 3274790"/>
                <a:gd name="connsiteX4" fmla="*/ 2257425 w 7829550"/>
                <a:gd name="connsiteY4" fmla="*/ 3238500 h 3274790"/>
                <a:gd name="connsiteX5" fmla="*/ 28575 w 7829550"/>
                <a:gd name="connsiteY5" fmla="*/ 2781300 h 3274790"/>
                <a:gd name="connsiteX6" fmla="*/ 0 w 7829550"/>
                <a:gd name="connsiteY6" fmla="*/ 0 h 3274790"/>
                <a:gd name="connsiteX7" fmla="*/ 0 w 7829550"/>
                <a:gd name="connsiteY7" fmla="*/ 0 h 3274790"/>
                <a:gd name="connsiteX8" fmla="*/ 0 w 7829550"/>
                <a:gd name="connsiteY8" fmla="*/ 0 h 3274790"/>
                <a:gd name="connsiteX0" fmla="*/ 66675 w 7829550"/>
                <a:gd name="connsiteY0" fmla="*/ 0 h 3251496"/>
                <a:gd name="connsiteX1" fmla="*/ 7829550 w 7829550"/>
                <a:gd name="connsiteY1" fmla="*/ 0 h 3251496"/>
                <a:gd name="connsiteX2" fmla="*/ 6362700 w 7829550"/>
                <a:gd name="connsiteY2" fmla="*/ 1628775 h 3251496"/>
                <a:gd name="connsiteX3" fmla="*/ 5229225 w 7829550"/>
                <a:gd name="connsiteY3" fmla="*/ 1628775 h 3251496"/>
                <a:gd name="connsiteX4" fmla="*/ 2257425 w 7829550"/>
                <a:gd name="connsiteY4" fmla="*/ 3238500 h 3251496"/>
                <a:gd name="connsiteX5" fmla="*/ 28575 w 7829550"/>
                <a:gd name="connsiteY5" fmla="*/ 2781300 h 3251496"/>
                <a:gd name="connsiteX6" fmla="*/ 0 w 7829550"/>
                <a:gd name="connsiteY6" fmla="*/ 0 h 3251496"/>
                <a:gd name="connsiteX7" fmla="*/ 0 w 7829550"/>
                <a:gd name="connsiteY7" fmla="*/ 0 h 3251496"/>
                <a:gd name="connsiteX8" fmla="*/ 0 w 7829550"/>
                <a:gd name="connsiteY8" fmla="*/ 0 h 3251496"/>
                <a:gd name="connsiteX0" fmla="*/ 66675 w 7829550"/>
                <a:gd name="connsiteY0" fmla="*/ 0 h 3255839"/>
                <a:gd name="connsiteX1" fmla="*/ 7829550 w 7829550"/>
                <a:gd name="connsiteY1" fmla="*/ 0 h 3255839"/>
                <a:gd name="connsiteX2" fmla="*/ 6362700 w 7829550"/>
                <a:gd name="connsiteY2" fmla="*/ 1628775 h 3255839"/>
                <a:gd name="connsiteX3" fmla="*/ 5229225 w 7829550"/>
                <a:gd name="connsiteY3" fmla="*/ 1628775 h 3255839"/>
                <a:gd name="connsiteX4" fmla="*/ 2257425 w 7829550"/>
                <a:gd name="connsiteY4" fmla="*/ 3238500 h 3255839"/>
                <a:gd name="connsiteX5" fmla="*/ 28575 w 7829550"/>
                <a:gd name="connsiteY5" fmla="*/ 2781300 h 3255839"/>
                <a:gd name="connsiteX6" fmla="*/ 0 w 7829550"/>
                <a:gd name="connsiteY6" fmla="*/ 0 h 3255839"/>
                <a:gd name="connsiteX7" fmla="*/ 0 w 7829550"/>
                <a:gd name="connsiteY7" fmla="*/ 0 h 3255839"/>
                <a:gd name="connsiteX8" fmla="*/ 0 w 7829550"/>
                <a:gd name="connsiteY8" fmla="*/ 0 h 3255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829550" h="3255839">
                  <a:moveTo>
                    <a:pt x="66675" y="0"/>
                  </a:moveTo>
                  <a:lnTo>
                    <a:pt x="7829550" y="0"/>
                  </a:lnTo>
                  <a:lnTo>
                    <a:pt x="6362700" y="1628775"/>
                  </a:lnTo>
                  <a:lnTo>
                    <a:pt x="5229225" y="1628775"/>
                  </a:lnTo>
                  <a:cubicBezTo>
                    <a:pt x="4495800" y="2587625"/>
                    <a:pt x="3821895" y="3077510"/>
                    <a:pt x="2257425" y="3238500"/>
                  </a:cubicBezTo>
                  <a:cubicBezTo>
                    <a:pt x="1070822" y="3360606"/>
                    <a:pt x="28759" y="2798382"/>
                    <a:pt x="28575" y="2781300"/>
                  </a:cubicBezTo>
                  <a:cubicBezTo>
                    <a:pt x="11662" y="1212808"/>
                    <a:pt x="4763" y="463550"/>
                    <a:pt x="0" y="0"/>
                  </a:cubicBez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solidFill>
              <a:srgbClr val="0019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146436" name="TextBox 2"/>
            <p:cNvSpPr txBox="1">
              <a:spLocks noChangeArrowheads="1"/>
            </p:cNvSpPr>
            <p:nvPr/>
          </p:nvSpPr>
          <p:spPr bwMode="auto">
            <a:xfrm>
              <a:off x="454025" y="4048109"/>
              <a:ext cx="3182938" cy="24018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600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n-US" altLang="en-US" sz="4100" dirty="0">
                  <a:solidFill>
                    <a:srgbClr val="FFFFFF"/>
                  </a:solidFill>
                </a:rPr>
                <a:t>experience</a:t>
              </a:r>
            </a:p>
            <a:p>
              <a:r>
                <a:rPr lang="en-US" altLang="en-US" sz="4100" dirty="0">
                  <a:solidFill>
                    <a:srgbClr val="0C9EFF"/>
                  </a:solidFill>
                </a:rPr>
                <a:t>is everything</a:t>
              </a:r>
            </a:p>
            <a:p>
              <a:pPr>
                <a:lnSpc>
                  <a:spcPct val="150000"/>
                </a:lnSpc>
                <a:spcBef>
                  <a:spcPts val="1200"/>
                </a:spcBef>
              </a:pPr>
              <a:r>
                <a:rPr lang="en-US" altLang="en-US" sz="4100" dirty="0" smtClean="0">
                  <a:solidFill>
                    <a:srgbClr val="0C9EFF"/>
                  </a:solidFill>
                </a:rPr>
                <a:t>Thank you!</a:t>
              </a:r>
              <a:endParaRPr lang="en-US" altLang="en-US" sz="4100" dirty="0">
                <a:solidFill>
                  <a:srgbClr val="0C9E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853879385"/>
      </p:ext>
    </p:extLst>
  </p:cSld>
  <p:clrMapOvr>
    <a:masterClrMapping/>
  </p:clrMapOvr>
  <p:transition advClick="0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4145" name="Group 15"/>
          <p:cNvGrpSpPr>
            <a:grpSpLocks/>
          </p:cNvGrpSpPr>
          <p:nvPr/>
        </p:nvGrpSpPr>
        <p:grpSpPr bwMode="auto">
          <a:xfrm>
            <a:off x="-16933" y="4762500"/>
            <a:ext cx="14630400" cy="3467100"/>
            <a:chOff x="-16933" y="4762500"/>
            <a:chExt cx="14630399" cy="3467101"/>
          </a:xfrm>
        </p:grpSpPr>
        <p:pic>
          <p:nvPicPr>
            <p:cNvPr id="134155" name="Picture 16" descr="fundo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6933" y="4762500"/>
              <a:ext cx="14630399" cy="34671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34156" name="Group 9"/>
            <p:cNvGrpSpPr>
              <a:grpSpLocks/>
            </p:cNvGrpSpPr>
            <p:nvPr/>
          </p:nvGrpSpPr>
          <p:grpSpPr bwMode="auto">
            <a:xfrm>
              <a:off x="587375" y="7794625"/>
              <a:ext cx="13827125" cy="307103"/>
              <a:chOff x="587375" y="7794625"/>
              <a:chExt cx="13827125" cy="307103"/>
            </a:xfrm>
          </p:grpSpPr>
          <p:sp>
            <p:nvSpPr>
              <p:cNvPr id="134157" name="Text Box 40"/>
              <p:cNvSpPr txBox="1">
                <a:spLocks noChangeArrowheads="1"/>
              </p:cNvSpPr>
              <p:nvPr/>
            </p:nvSpPr>
            <p:spPr bwMode="auto">
              <a:xfrm>
                <a:off x="13760450" y="7864475"/>
                <a:ext cx="654050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defTabSz="1306513">
                  <a:defRPr sz="26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 defTabSz="1306513">
                  <a:defRPr sz="26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 defTabSz="1306513">
                  <a:defRPr sz="26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 defTabSz="1306513">
                  <a:defRPr sz="26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 defTabSz="1306513">
                  <a:defRPr sz="26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defTabSz="13065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defTabSz="13065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defTabSz="13065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defTabSz="13065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eaLnBrk="1" hangingPunct="1">
                  <a:spcBef>
                    <a:spcPct val="50000"/>
                  </a:spcBef>
                </a:pPr>
                <a:fld id="{D9445864-82E0-4CD0-8997-DA2E783B9D3F}" type="slidenum">
                  <a:rPr lang="en-US" altLang="en-US" sz="1100">
                    <a:solidFill>
                      <a:srgbClr val="FFFFFF"/>
                    </a:solidFill>
                  </a:rPr>
                  <a:pPr eaLnBrk="1" hangingPunct="1">
                    <a:spcBef>
                      <a:spcPct val="50000"/>
                    </a:spcBef>
                  </a:pPr>
                  <a:t>5</a:t>
                </a:fld>
                <a:endParaRPr lang="en-US" altLang="en-US" sz="1100">
                  <a:solidFill>
                    <a:srgbClr val="FFFFFF"/>
                  </a:solidFill>
                </a:endParaRPr>
              </a:p>
            </p:txBody>
          </p:sp>
          <p:sp>
            <p:nvSpPr>
              <p:cNvPr id="134158" name="Rectangle 6"/>
              <p:cNvSpPr>
                <a:spLocks noChangeArrowheads="1"/>
              </p:cNvSpPr>
              <p:nvPr/>
            </p:nvSpPr>
            <p:spPr bwMode="black">
              <a:xfrm>
                <a:off x="587375" y="7794625"/>
                <a:ext cx="4886324" cy="30710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131522" tIns="65762" rIns="131522" bIns="65762">
                <a:spAutoFit/>
              </a:bodyPr>
              <a:lstStyle>
                <a:lvl1pPr>
                  <a:defRPr sz="26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1pPr>
                <a:lvl2pPr marL="742950" indent="-285750">
                  <a:defRPr sz="26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2pPr>
                <a:lvl3pPr marL="1143000" indent="-228600">
                  <a:defRPr sz="26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3pPr>
                <a:lvl4pPr marL="1600200" indent="-228600">
                  <a:defRPr sz="26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4pPr>
                <a:lvl5pPr marL="2057400" indent="-228600">
                  <a:defRPr sz="26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600">
                    <a:solidFill>
                      <a:schemeClr val="tx1"/>
                    </a:solidFill>
                    <a:latin typeface="Arial" pitchFamily="34" charset="0"/>
                    <a:ea typeface="ＭＳ Ｐゴシック" pitchFamily="34" charset="-128"/>
                  </a:defRPr>
                </a:lvl9pPr>
              </a:lstStyle>
              <a:p>
                <a:pPr eaLnBrk="1" hangingPunct="1"/>
                <a:r>
                  <a:rPr lang="en-US" altLang="en-US" sz="1100" dirty="0">
                    <a:solidFill>
                      <a:srgbClr val="FFFFFF"/>
                    </a:solidFill>
                  </a:rPr>
                  <a:t>© </a:t>
                </a:r>
                <a:r>
                  <a:rPr lang="en-US" altLang="en-US" sz="1100" dirty="0" smtClean="0">
                    <a:solidFill>
                      <a:srgbClr val="FFFFFF"/>
                    </a:solidFill>
                  </a:rPr>
                  <a:t>2015 </a:t>
                </a:r>
                <a:r>
                  <a:rPr lang="en-US" altLang="en-US" sz="1100" dirty="0">
                    <a:solidFill>
                      <a:srgbClr val="FFFFFF"/>
                    </a:solidFill>
                  </a:rPr>
                  <a:t>IBM Corporation</a:t>
                </a:r>
              </a:p>
            </p:txBody>
          </p:sp>
        </p:grpSp>
      </p:grpSp>
      <p:sp>
        <p:nvSpPr>
          <p:cNvPr id="134146" name="Title 4"/>
          <p:cNvSpPr txBox="1">
            <a:spLocks/>
          </p:cNvSpPr>
          <p:nvPr/>
        </p:nvSpPr>
        <p:spPr bwMode="auto">
          <a:xfrm>
            <a:off x="1452563" y="635000"/>
            <a:ext cx="9302750" cy="993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0542" tIns="65272" rIns="130542" bIns="65272"/>
          <a:lstStyle>
            <a:lvl1pPr defTabSz="1304925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304925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304925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304925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304925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304925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304925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304925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304925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r>
              <a:rPr lang="en-US" altLang="en-US" sz="4000" dirty="0" smtClean="0">
                <a:solidFill>
                  <a:srgbClr val="83D1F5"/>
                </a:solidFill>
              </a:rPr>
              <a:t>Hyper-connected environment…</a:t>
            </a:r>
            <a:endParaRPr lang="en-US" altLang="en-US" sz="4000" dirty="0">
              <a:solidFill>
                <a:srgbClr val="83D1F5"/>
              </a:solidFill>
            </a:endParaRPr>
          </a:p>
        </p:txBody>
      </p:sp>
      <p:sp>
        <p:nvSpPr>
          <p:cNvPr id="18" name="TextBox 17"/>
          <p:cNvSpPr txBox="1">
            <a:spLocks noChangeArrowheads="1"/>
          </p:cNvSpPr>
          <p:nvPr/>
        </p:nvSpPr>
        <p:spPr bwMode="auto">
          <a:xfrm>
            <a:off x="1016000" y="5678490"/>
            <a:ext cx="3168650" cy="1600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Aft>
                <a:spcPts val="600"/>
              </a:spcAft>
            </a:pPr>
            <a:r>
              <a:rPr lang="pt-BR" altLang="en-US" sz="3100" b="1" dirty="0" err="1" smtClean="0">
                <a:solidFill>
                  <a:srgbClr val="FFFFFF"/>
                </a:solidFill>
              </a:rPr>
              <a:t>Organization</a:t>
            </a:r>
            <a:r>
              <a:rPr lang="pt-BR" altLang="en-US" sz="3100" b="1" dirty="0" smtClean="0">
                <a:solidFill>
                  <a:srgbClr val="FFFFFF"/>
                </a:solidFill>
              </a:rPr>
              <a:t>- </a:t>
            </a:r>
            <a:r>
              <a:rPr lang="pt-BR" altLang="en-US" sz="3100" b="1" dirty="0" err="1" smtClean="0">
                <a:solidFill>
                  <a:srgbClr val="FFFFFF"/>
                </a:solidFill>
              </a:rPr>
              <a:t>centered</a:t>
            </a:r>
            <a:r>
              <a:rPr lang="pt-BR" altLang="en-US" sz="3100" b="1" dirty="0" smtClean="0">
                <a:solidFill>
                  <a:srgbClr val="FFFFFF"/>
                </a:solidFill>
              </a:rPr>
              <a:t> </a:t>
            </a:r>
            <a:r>
              <a:rPr lang="pt-BR" altLang="en-US" sz="3100" b="1" dirty="0" err="1" smtClean="0">
                <a:solidFill>
                  <a:srgbClr val="FFFFFF"/>
                </a:solidFill>
              </a:rPr>
              <a:t>economy</a:t>
            </a:r>
            <a:endParaRPr lang="pt-BR" altLang="en-US" sz="3100" b="1" dirty="0">
              <a:solidFill>
                <a:srgbClr val="FFFFFF"/>
              </a:solidFill>
            </a:endParaRPr>
          </a:p>
          <a:p>
            <a:pPr algn="ctr" eaLnBrk="1" hangingPunct="1">
              <a:spcAft>
                <a:spcPts val="600"/>
              </a:spcAft>
            </a:pPr>
            <a:endParaRPr lang="en-US" altLang="en-US" sz="3100" b="1" dirty="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>
            <a:spLocks noChangeArrowheads="1"/>
          </p:cNvSpPr>
          <p:nvPr/>
        </p:nvSpPr>
        <p:spPr bwMode="auto">
          <a:xfrm>
            <a:off x="10772775" y="5780088"/>
            <a:ext cx="2543175" cy="1600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Aft>
                <a:spcPts val="600"/>
              </a:spcAft>
            </a:pPr>
            <a:r>
              <a:rPr lang="pt-BR" altLang="en-US" sz="1600" b="1" dirty="0" smtClean="0">
                <a:solidFill>
                  <a:srgbClr val="FFFFFF"/>
                </a:solidFill>
              </a:rPr>
              <a:t> </a:t>
            </a:r>
            <a:r>
              <a:rPr lang="pt-BR" altLang="en-US" sz="5400" b="1" dirty="0">
                <a:solidFill>
                  <a:srgbClr val="FFFFFF"/>
                </a:solidFill>
                <a:hlinkClick r:id="rId4" action="ppaction://hlinkfile"/>
              </a:rPr>
              <a:t>E2E</a:t>
            </a:r>
            <a:r>
              <a:rPr lang="pt-BR" altLang="en-US" sz="5400" b="1" dirty="0">
                <a:solidFill>
                  <a:srgbClr val="FFFFFF"/>
                </a:solidFill>
              </a:rPr>
              <a:t> </a:t>
            </a:r>
            <a:endParaRPr lang="pt-BR" altLang="en-US" sz="5400" b="1" dirty="0" smtClean="0">
              <a:solidFill>
                <a:srgbClr val="FFFFFF"/>
              </a:solidFill>
            </a:endParaRPr>
          </a:p>
          <a:p>
            <a:pPr algn="ctr" eaLnBrk="1" hangingPunct="1">
              <a:spcAft>
                <a:spcPts val="600"/>
              </a:spcAft>
            </a:pPr>
            <a:r>
              <a:rPr lang="pt-BR" altLang="en-US" sz="3200" b="1" dirty="0" err="1" smtClean="0">
                <a:solidFill>
                  <a:srgbClr val="FFFFFF"/>
                </a:solidFill>
              </a:rPr>
              <a:t>Economy</a:t>
            </a:r>
            <a:endParaRPr lang="pt-BR" altLang="en-US" sz="3200" b="1" dirty="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>
            <a:spLocks noChangeArrowheads="1"/>
          </p:cNvSpPr>
          <p:nvPr/>
        </p:nvSpPr>
        <p:spPr bwMode="auto">
          <a:xfrm>
            <a:off x="5791200" y="5680075"/>
            <a:ext cx="3287713" cy="1700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Aft>
                <a:spcPts val="600"/>
              </a:spcAft>
            </a:pPr>
            <a:r>
              <a:rPr lang="pt-BR" altLang="en-US" sz="3100" b="1" dirty="0">
                <a:solidFill>
                  <a:srgbClr val="FFFFFF"/>
                </a:solidFill>
              </a:rPr>
              <a:t>I</a:t>
            </a:r>
            <a:r>
              <a:rPr lang="pt-BR" altLang="en-US" sz="3100" b="1" dirty="0" smtClean="0">
                <a:solidFill>
                  <a:srgbClr val="FFFFFF"/>
                </a:solidFill>
              </a:rPr>
              <a:t>ndividual-</a:t>
            </a:r>
            <a:r>
              <a:rPr lang="pt-BR" altLang="en-US" sz="3100" b="1" dirty="0" err="1" smtClean="0">
                <a:solidFill>
                  <a:srgbClr val="FFFFFF"/>
                </a:solidFill>
              </a:rPr>
              <a:t>centered</a:t>
            </a:r>
            <a:r>
              <a:rPr lang="pt-BR" altLang="en-US" sz="3100" b="1" dirty="0" smtClean="0">
                <a:solidFill>
                  <a:srgbClr val="FFFFFF"/>
                </a:solidFill>
              </a:rPr>
              <a:t> </a:t>
            </a:r>
            <a:r>
              <a:rPr lang="pt-BR" altLang="en-US" sz="3100" b="1" dirty="0" err="1" smtClean="0">
                <a:solidFill>
                  <a:srgbClr val="FFFFFF"/>
                </a:solidFill>
              </a:rPr>
              <a:t>economy</a:t>
            </a:r>
            <a:endParaRPr lang="pt-BR" altLang="en-US" sz="3100" b="1" dirty="0">
              <a:solidFill>
                <a:srgbClr val="FFFFFF"/>
              </a:solidFill>
            </a:endParaRPr>
          </a:p>
          <a:p>
            <a:pPr algn="ctr" eaLnBrk="1" hangingPunct="1">
              <a:spcAft>
                <a:spcPts val="600"/>
              </a:spcAft>
            </a:pPr>
            <a:endParaRPr lang="en-US" altLang="en-US" sz="2900" dirty="0">
              <a:solidFill>
                <a:srgbClr val="808080"/>
              </a:solidFill>
            </a:endParaRPr>
          </a:p>
        </p:txBody>
      </p:sp>
      <p:sp>
        <p:nvSpPr>
          <p:cNvPr id="134150" name="Rectangle 6"/>
          <p:cNvSpPr>
            <a:spLocks noChangeArrowheads="1"/>
          </p:cNvSpPr>
          <p:nvPr/>
        </p:nvSpPr>
        <p:spPr bwMode="auto">
          <a:xfrm>
            <a:off x="4894263" y="7861300"/>
            <a:ext cx="859631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3" tIns="46011" rIns="91393" bIns="46011">
            <a:spAutoFit/>
          </a:bodyPr>
          <a:lstStyle>
            <a:lvl1pPr marL="396875" indent="-396875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r>
              <a:rPr lang="en-US" altLang="en-US" sz="900">
                <a:solidFill>
                  <a:srgbClr val="808080"/>
                </a:solidFill>
                <a:latin typeface="Helvetica" charset="0"/>
              </a:rPr>
              <a:t>Source: 	“Digital Reinvention: Preparing for a very different tomorrow.” IBM Institute for Business Value. December 2013.</a:t>
            </a:r>
          </a:p>
        </p:txBody>
      </p:sp>
      <p:sp>
        <p:nvSpPr>
          <p:cNvPr id="30" name="Right Arrow 29"/>
          <p:cNvSpPr/>
          <p:nvPr/>
        </p:nvSpPr>
        <p:spPr bwMode="auto">
          <a:xfrm>
            <a:off x="2619375" y="2536825"/>
            <a:ext cx="9424988" cy="2357438"/>
          </a:xfrm>
          <a:prstGeom prst="rightArrow">
            <a:avLst>
              <a:gd name="adj1" fmla="val 36432"/>
              <a:gd name="adj2" fmla="val 90023"/>
            </a:avLst>
          </a:prstGeom>
          <a:gradFill flip="none" rotWithShape="1">
            <a:gsLst>
              <a:gs pos="0">
                <a:schemeClr val="tx2">
                  <a:lumMod val="50000"/>
                  <a:alpha val="80000"/>
                </a:schemeClr>
              </a:gs>
              <a:gs pos="50000">
                <a:schemeClr val="bg2">
                  <a:lumMod val="40000"/>
                  <a:lumOff val="60000"/>
                  <a:shade val="67500"/>
                  <a:satMod val="115000"/>
                  <a:alpha val="60000"/>
                </a:schemeClr>
              </a:gs>
              <a:gs pos="100000">
                <a:schemeClr val="tx2">
                  <a:lumMod val="50000"/>
                  <a:alpha val="80000"/>
                </a:schemeClr>
              </a:gs>
            </a:gsLst>
            <a:lin ang="10800000" scaled="1"/>
            <a:tileRect/>
          </a:gradFill>
          <a:ln>
            <a:noFill/>
          </a:ln>
          <a:effectLst/>
          <a:extLst/>
        </p:spPr>
        <p:txBody>
          <a:bodyPr wrap="none" lIns="91393" tIns="45693" rIns="91393" bIns="45693" anchor="ctr"/>
          <a:lstStyle/>
          <a:p>
            <a:pPr marL="166597" indent="-166597"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endParaRPr lang="en-US" sz="1600" b="1" dirty="0">
              <a:solidFill>
                <a:srgbClr val="003F69"/>
              </a:solidFill>
              <a:latin typeface="Arial" charset="0"/>
              <a:ea typeface="ＭＳ Ｐゴシック"/>
              <a:cs typeface="Arial" panose="020B0604020202020204" pitchFamily="34" charset="0"/>
            </a:endParaRPr>
          </a:p>
        </p:txBody>
      </p:sp>
      <p:pic>
        <p:nvPicPr>
          <p:cNvPr id="31" name="Picture 2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16000" y="2016125"/>
            <a:ext cx="12644438" cy="3663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Title 4"/>
          <p:cNvSpPr txBox="1">
            <a:spLocks/>
          </p:cNvSpPr>
          <p:nvPr/>
        </p:nvSpPr>
        <p:spPr bwMode="auto">
          <a:xfrm>
            <a:off x="1846263" y="1212851"/>
            <a:ext cx="8891587" cy="966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0542" tIns="65272" rIns="130542" bIns="65272"/>
          <a:lstStyle>
            <a:lvl1pPr defTabSz="1304925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304925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304925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304925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304925"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304925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304925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304925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304925" eaLnBrk="0" fontAlgn="base" hangingPunct="0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r>
              <a:rPr lang="en-US" altLang="en-US" sz="4000" dirty="0" smtClean="0">
                <a:solidFill>
                  <a:srgbClr val="FFFFFF"/>
                </a:solidFill>
              </a:rPr>
              <a:t>The everyone</a:t>
            </a:r>
            <a:r>
              <a:rPr lang="en-US" altLang="en-US" sz="4000" dirty="0">
                <a:solidFill>
                  <a:srgbClr val="FFFFFF"/>
                </a:solidFill>
              </a:rPr>
              <a:t>-to-</a:t>
            </a:r>
            <a:r>
              <a:rPr lang="en-US" altLang="en-US" sz="4000" dirty="0" smtClean="0">
                <a:solidFill>
                  <a:srgbClr val="FFFFFF"/>
                </a:solidFill>
              </a:rPr>
              <a:t>everyone economy</a:t>
            </a:r>
            <a:endParaRPr lang="en-US" altLang="en-US" sz="4000" dirty="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50000"/>
          <a:stretch>
            <a:fillRect/>
          </a:stretch>
        </p:blipFill>
        <p:spPr bwMode="auto">
          <a:xfrm>
            <a:off x="10574338" y="-68263"/>
            <a:ext cx="4149725" cy="1943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advClick="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1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2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 nodeType="clickPar">
                      <p:stCondLst>
                        <p:cond delay="indefinite"/>
                      </p:stCondLst>
                      <p:childTnLst>
                        <p:par>
                          <p:cTn id="2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/>
      <p:bldP spid="20" grpId="0"/>
      <p:bldP spid="30" grpId="0" animBg="1"/>
      <p:bldP spid="3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Screen Shot 2015-05-10 at 9.11.02 P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4630400" cy="822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3504146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creen Shot 2015-05-09 at 9.40.54 P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5400" y="1231900"/>
            <a:ext cx="14579600" cy="575310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0667999" y="1604583"/>
            <a:ext cx="3810001" cy="409342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6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  <a:lvl2pPr marL="450850" indent="1588" algn="l" rtl="0" eaLnBrk="0" fontAlgn="base" hangingPunct="0">
              <a:spcBef>
                <a:spcPct val="0"/>
              </a:spcBef>
              <a:spcAft>
                <a:spcPct val="0"/>
              </a:spcAft>
              <a:defRPr sz="26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2pPr>
            <a:lvl3pPr marL="908050" indent="1588" algn="l" rtl="0" eaLnBrk="0" fontAlgn="base" hangingPunct="0">
              <a:spcBef>
                <a:spcPct val="0"/>
              </a:spcBef>
              <a:spcAft>
                <a:spcPct val="0"/>
              </a:spcAft>
              <a:defRPr sz="26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3pPr>
            <a:lvl4pPr marL="1365250" indent="1588" algn="l" rtl="0" eaLnBrk="0" fontAlgn="base" hangingPunct="0">
              <a:spcBef>
                <a:spcPct val="0"/>
              </a:spcBef>
              <a:spcAft>
                <a:spcPct val="0"/>
              </a:spcAft>
              <a:defRPr sz="26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4pPr>
            <a:lvl5pPr marL="1822450" indent="1588" algn="l" rtl="0" eaLnBrk="0" fontAlgn="base" hangingPunct="0">
              <a:spcBef>
                <a:spcPct val="0"/>
              </a:spcBef>
              <a:spcAft>
                <a:spcPct val="0"/>
              </a:spcAft>
              <a:defRPr sz="26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sz="26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sz="26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sz="26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sz="2600"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9pPr>
          </a:lstStyle>
          <a:p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“In the next five years when you look at the South African banking and telecommunications industries, I think you will see some mergers and acquisitions. It will be interesting in the next 5 years how these two worlds converge,” Stafford Massie, chief executive officer and founder of the payment technology innovations company, </a:t>
            </a:r>
            <a:r>
              <a:rPr lang="en-US" sz="2000" dirty="0" err="1" smtClean="0">
                <a:solidFill>
                  <a:schemeClr val="bg1">
                    <a:lumMod val="50000"/>
                  </a:schemeClr>
                </a:solidFill>
              </a:rPr>
              <a:t>Thumbzup</a:t>
            </a:r>
            <a:r>
              <a:rPr lang="en-US" sz="200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xmlns="" val="1107732918"/>
      </p:ext>
    </p:extLst>
  </p:cSld>
  <p:clrMapOvr>
    <a:masterClrMapping/>
  </p:clrMapOvr>
  <p:transition spd="slow">
    <p:checker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0" y="0"/>
            <a:ext cx="14630399" cy="8229599"/>
            <a:chOff x="0" y="0"/>
            <a:chExt cx="14630399" cy="8229599"/>
          </a:xfrm>
        </p:grpSpPr>
        <p:pic>
          <p:nvPicPr>
            <p:cNvPr id="4" name="Picture 3" descr="Screen Shot 2015-05-10 at 8.38.08 PM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14630399" cy="8229599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736600" y="5831745"/>
              <a:ext cx="3657330" cy="695528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noFill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">
                <a:rot lat="0" lon="0" rev="600000"/>
              </a:lightRig>
            </a:scene3d>
            <a:sp3d prstMaterial="metal">
              <a:bevelT w="38100" h="57150" prst="angle"/>
            </a:sp3d>
          </p:spPr>
          <p:txBody>
            <a:bodyPr wrap="square" rtlCol="0" anchor="ctr">
              <a:noAutofit/>
            </a:bodyPr>
            <a:lstStyle/>
            <a:p>
              <a:pPr algn="ctr"/>
              <a:r>
                <a:rPr lang="en-US" b="1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Start Your Free Month</a:t>
              </a:r>
              <a:endPara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2994769" y="530160"/>
            <a:ext cx="5891720" cy="1590470"/>
            <a:chOff x="2994769" y="530160"/>
            <a:chExt cx="5891720" cy="1590470"/>
          </a:xfrm>
        </p:grpSpPr>
        <p:sp>
          <p:nvSpPr>
            <p:cNvPr id="2" name="TextBox 1"/>
            <p:cNvSpPr txBox="1"/>
            <p:nvPr/>
          </p:nvSpPr>
          <p:spPr>
            <a:xfrm>
              <a:off x="2994769" y="530160"/>
              <a:ext cx="2798323" cy="695528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noFill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">
                <a:rot lat="0" lon="0" rev="600000"/>
              </a:lightRig>
            </a:scene3d>
            <a:sp3d prstMaterial="metal">
              <a:bevelT w="38100" h="57150" prst="angle"/>
            </a:sp3d>
          </p:spPr>
          <p:txBody>
            <a:bodyPr wrap="square" rtlCol="0" anchor="ctr">
              <a:noAutofit/>
            </a:bodyPr>
            <a:lstStyle/>
            <a:p>
              <a:pPr algn="ctr"/>
              <a:r>
                <a:rPr lang="en-US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House of </a:t>
              </a:r>
              <a:r>
                <a:rPr lang="en-US" b="1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Cards</a:t>
              </a:r>
              <a:endPara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6071953" y="530160"/>
              <a:ext cx="2814536" cy="695528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noFill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">
                <a:rot lat="0" lon="0" rev="600000"/>
              </a:lightRig>
            </a:scene3d>
            <a:sp3d prstMaterial="metal">
              <a:bevelT w="38100" h="57150" prst="angle"/>
            </a:sp3d>
          </p:spPr>
          <p:txBody>
            <a:bodyPr wrap="square" rtlCol="0" anchor="ctr">
              <a:noAutofit/>
            </a:bodyPr>
            <a:lstStyle/>
            <a:p>
              <a:pPr algn="ctr"/>
              <a:r>
                <a:rPr lang="en-US" b="1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Hemlock Grove</a:t>
              </a:r>
              <a:endPara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2994769" y="1425102"/>
              <a:ext cx="5891720" cy="695528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noFill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">
                <a:rot lat="0" lon="0" rev="600000"/>
              </a:lightRig>
            </a:scene3d>
            <a:sp3d prstMaterial="metal">
              <a:bevelT w="38100" h="57150" prst="angle"/>
            </a:sp3d>
          </p:spPr>
          <p:txBody>
            <a:bodyPr wrap="square" rtlCol="0" anchor="ctr">
              <a:noAutofit/>
            </a:bodyPr>
            <a:lstStyle/>
            <a:p>
              <a:pPr algn="ctr"/>
              <a:r>
                <a:rPr lang="en-US" b="1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Orange </a:t>
              </a:r>
              <a:r>
                <a:rPr lang="en-US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Is the New Black</a:t>
              </a:r>
              <a:endPara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62888031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2337" name="Picture 3" descr="G:\Cris\ajustar logo\byod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5251" b="13750"/>
          <a:stretch>
            <a:fillRect/>
          </a:stretch>
        </p:blipFill>
        <p:spPr bwMode="auto">
          <a:xfrm>
            <a:off x="-268288" y="0"/>
            <a:ext cx="15205076" cy="822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69334" y="674093"/>
            <a:ext cx="10910383" cy="492443"/>
          </a:xfrm>
          <a:prstGeom prst="rect">
            <a:avLst/>
          </a:prstGeom>
          <a:noFill/>
          <a:effectLst>
            <a:outerShdw blurRad="50800" dist="647700" dir="5400000" sx="49000" sy="49000" algn="ctr" rotWithShape="0">
              <a:srgbClr val="000000">
                <a:alpha val="43137"/>
              </a:srgbClr>
            </a:outerShdw>
          </a:effectLst>
        </p:spPr>
        <p:txBody>
          <a:bodyPr wrap="none" rtlCol="0">
            <a:spAutoFit/>
          </a:bodyPr>
          <a:lstStyle/>
          <a:p>
            <a:r>
              <a:rPr lang="en-US" dirty="0" smtClean="0">
                <a:effectLst>
                  <a:outerShdw blurRad="254000" dir="2700000" algn="tl">
                    <a:srgbClr val="000000">
                      <a:alpha val="69000"/>
                    </a:srgbClr>
                  </a:outerShdw>
                </a:effectLst>
              </a:rPr>
              <a:t>Apple App Store – a great example of the emergence of new ecosystem</a:t>
            </a:r>
            <a:endParaRPr lang="en-US" dirty="0">
              <a:effectLst>
                <a:outerShdw blurRad="254000" dir="2700000" algn="tl">
                  <a:srgbClr val="000000">
                    <a:alpha val="69000"/>
                  </a:srgbClr>
                </a:outerShdw>
              </a:effectLst>
            </a:endParaRPr>
          </a:p>
        </p:txBody>
      </p:sp>
    </p:spTree>
  </p:cSld>
  <p:clrMapOvr>
    <a:masterClrMapping/>
  </p:clrMapOvr>
  <p:transition spd="slow" advClick="0">
    <p:checker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28neb_qkeIjXuDQjIOz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bvg1bb.02wTN6_krIJE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DYc0ITDU2IIqlYaeOtc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PZ3tkK0Um5hikNsc2Hp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jfgcZVLWUeuNNV0N8dXA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G0U.2eWUCgHsGB2rfr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z0cg5H3ka9IqmZ.4YX_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ExTlpNgkGC_WxwxgU6C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28neb_qkeIjXuDQjIOz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Y.nyJm1R0Opao2u.TqoB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M4hueiV0WKp3NDFg8uI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jAywrp_E6YIz0.xxS2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Tb7X5An2kC83ZA0nIFrQ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mjo2Dxs7kmaZ2JhOLODD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iz5xG_D0ShuRocD4rcL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r4Wac3QEyVXU8mwudrA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gObs0l5Eqc4eKPErsp5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S521t4kG9ol9eUqf57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0o1ChZ6064cquER4P2qA"/>
</p:tagLst>
</file>

<file path=ppt/theme/theme1.xml><?xml version="1.0" encoding="utf-8"?>
<a:theme xmlns:a="http://schemas.openxmlformats.org/drawingml/2006/main" name="3_Charts">
  <a:themeElements>
    <a:clrScheme name="IBMiXv8 1">
      <a:dk1>
        <a:srgbClr val="001934"/>
      </a:dk1>
      <a:lt1>
        <a:sysClr val="window" lastClr="FFFFFF"/>
      </a:lt1>
      <a:dk2>
        <a:srgbClr val="00443D"/>
      </a:dk2>
      <a:lt2>
        <a:srgbClr val="00B2EF"/>
      </a:lt2>
      <a:accent1>
        <a:srgbClr val="FFFF4F"/>
      </a:accent1>
      <a:accent2>
        <a:srgbClr val="D9182D"/>
      </a:accent2>
      <a:accent3>
        <a:srgbClr val="EE3E96"/>
      </a:accent3>
      <a:accent4>
        <a:srgbClr val="7F1C7D"/>
      </a:accent4>
      <a:accent5>
        <a:srgbClr val="007670"/>
      </a:accent5>
      <a:accent6>
        <a:srgbClr val="17AF4B"/>
      </a:accent6>
      <a:hlink>
        <a:srgbClr val="003F69"/>
      </a:hlink>
      <a:folHlink>
        <a:srgbClr val="8C005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5_Charts">
  <a:themeElements>
    <a:clrScheme name="IBMiXv8 1">
      <a:dk1>
        <a:srgbClr val="001934"/>
      </a:dk1>
      <a:lt1>
        <a:sysClr val="window" lastClr="FFFFFF"/>
      </a:lt1>
      <a:dk2>
        <a:srgbClr val="00443D"/>
      </a:dk2>
      <a:lt2>
        <a:srgbClr val="00B2EF"/>
      </a:lt2>
      <a:accent1>
        <a:srgbClr val="FFFF4F"/>
      </a:accent1>
      <a:accent2>
        <a:srgbClr val="D9182D"/>
      </a:accent2>
      <a:accent3>
        <a:srgbClr val="EE3E96"/>
      </a:accent3>
      <a:accent4>
        <a:srgbClr val="7F1C7D"/>
      </a:accent4>
      <a:accent5>
        <a:srgbClr val="007670"/>
      </a:accent5>
      <a:accent6>
        <a:srgbClr val="17AF4B"/>
      </a:accent6>
      <a:hlink>
        <a:srgbClr val="003F69"/>
      </a:hlink>
      <a:folHlink>
        <a:srgbClr val="8C005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SC_Shanghai_template_16x9">
  <a:themeElements>
    <a:clrScheme name="SC_Shanghai_template_16x9 2">
      <a:dk1>
        <a:srgbClr val="808080"/>
      </a:dk1>
      <a:lt1>
        <a:srgbClr val="FFFFFF"/>
      </a:lt1>
      <a:dk2>
        <a:srgbClr val="003F69"/>
      </a:dk2>
      <a:lt2>
        <a:srgbClr val="00B2EF"/>
      </a:lt2>
      <a:accent1>
        <a:srgbClr val="00B0DA"/>
      </a:accent1>
      <a:accent2>
        <a:srgbClr val="00A6A0"/>
      </a:accent2>
      <a:accent3>
        <a:srgbClr val="AAAFB9"/>
      </a:accent3>
      <a:accent4>
        <a:srgbClr val="DADADA"/>
      </a:accent4>
      <a:accent5>
        <a:srgbClr val="AAD4EA"/>
      </a:accent5>
      <a:accent6>
        <a:srgbClr val="009691"/>
      </a:accent6>
      <a:hlink>
        <a:srgbClr val="8CC63F"/>
      </a:hlink>
      <a:folHlink>
        <a:srgbClr val="83D1F5"/>
      </a:folHlink>
    </a:clrScheme>
    <a:fontScheme name="SC_Shanghai_template_16x9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30651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30651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SC_Shanghai_template_16x9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B3EF"/>
        </a:accent1>
        <a:accent2>
          <a:srgbClr val="71BFC5"/>
        </a:accent2>
        <a:accent3>
          <a:srgbClr val="FFFFFF"/>
        </a:accent3>
        <a:accent4>
          <a:srgbClr val="000000"/>
        </a:accent4>
        <a:accent5>
          <a:srgbClr val="AAD6F6"/>
        </a:accent5>
        <a:accent6>
          <a:srgbClr val="66ADB2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C_Shanghai_template_16x9 2">
        <a:dk1>
          <a:srgbClr val="808080"/>
        </a:dk1>
        <a:lt1>
          <a:srgbClr val="FFFFFF"/>
        </a:lt1>
        <a:dk2>
          <a:srgbClr val="003F69"/>
        </a:dk2>
        <a:lt2>
          <a:srgbClr val="00B2EF"/>
        </a:lt2>
        <a:accent1>
          <a:srgbClr val="00B0DA"/>
        </a:accent1>
        <a:accent2>
          <a:srgbClr val="00A6A0"/>
        </a:accent2>
        <a:accent3>
          <a:srgbClr val="AAAFB9"/>
        </a:accent3>
        <a:accent4>
          <a:srgbClr val="DADADA"/>
        </a:accent4>
        <a:accent5>
          <a:srgbClr val="AAD4EA"/>
        </a:accent5>
        <a:accent6>
          <a:srgbClr val="009691"/>
        </a:accent6>
        <a:hlink>
          <a:srgbClr val="8CC63F"/>
        </a:hlink>
        <a:folHlink>
          <a:srgbClr val="83D1F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SC_Shanghai_template_16x9">
  <a:themeElements>
    <a:clrScheme name="2_SC_Shanghai_template_16x9 2">
      <a:dk1>
        <a:srgbClr val="808080"/>
      </a:dk1>
      <a:lt1>
        <a:srgbClr val="FFFFFF"/>
      </a:lt1>
      <a:dk2>
        <a:srgbClr val="003F69"/>
      </a:dk2>
      <a:lt2>
        <a:srgbClr val="00B2EF"/>
      </a:lt2>
      <a:accent1>
        <a:srgbClr val="00B0DA"/>
      </a:accent1>
      <a:accent2>
        <a:srgbClr val="00A6A0"/>
      </a:accent2>
      <a:accent3>
        <a:srgbClr val="AAAFB9"/>
      </a:accent3>
      <a:accent4>
        <a:srgbClr val="DADADA"/>
      </a:accent4>
      <a:accent5>
        <a:srgbClr val="AAD4EA"/>
      </a:accent5>
      <a:accent6>
        <a:srgbClr val="009691"/>
      </a:accent6>
      <a:hlink>
        <a:srgbClr val="8CC63F"/>
      </a:hlink>
      <a:folHlink>
        <a:srgbClr val="83D1F5"/>
      </a:folHlink>
    </a:clrScheme>
    <a:fontScheme name="2_SC_Shanghai_template_16x9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SC_Shanghai_template_16x9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B3EF"/>
        </a:accent1>
        <a:accent2>
          <a:srgbClr val="71BFC5"/>
        </a:accent2>
        <a:accent3>
          <a:srgbClr val="FFFFFF"/>
        </a:accent3>
        <a:accent4>
          <a:srgbClr val="000000"/>
        </a:accent4>
        <a:accent5>
          <a:srgbClr val="AAD6F6"/>
        </a:accent5>
        <a:accent6>
          <a:srgbClr val="66ADB2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SC_Shanghai_template_16x9 2">
        <a:dk1>
          <a:srgbClr val="808080"/>
        </a:dk1>
        <a:lt1>
          <a:srgbClr val="FFFFFF"/>
        </a:lt1>
        <a:dk2>
          <a:srgbClr val="003F69"/>
        </a:dk2>
        <a:lt2>
          <a:srgbClr val="00B2EF"/>
        </a:lt2>
        <a:accent1>
          <a:srgbClr val="00B0DA"/>
        </a:accent1>
        <a:accent2>
          <a:srgbClr val="00A6A0"/>
        </a:accent2>
        <a:accent3>
          <a:srgbClr val="AAAFB9"/>
        </a:accent3>
        <a:accent4>
          <a:srgbClr val="DADADA"/>
        </a:accent4>
        <a:accent5>
          <a:srgbClr val="AAD4EA"/>
        </a:accent5>
        <a:accent6>
          <a:srgbClr val="009691"/>
        </a:accent6>
        <a:hlink>
          <a:srgbClr val="8CC63F"/>
        </a:hlink>
        <a:folHlink>
          <a:srgbClr val="83D1F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404</TotalTime>
  <Words>1595</Words>
  <Application>Microsoft Macintosh PowerPoint</Application>
  <PresentationFormat>Custom</PresentationFormat>
  <Paragraphs>295</Paragraphs>
  <Slides>43</Slides>
  <Notes>8</Notes>
  <HiddenSlides>0</HiddenSlides>
  <MMClips>0</MMClips>
  <ScaleCrop>false</ScaleCrop>
  <HeadingPairs>
    <vt:vector size="4" baseType="variant">
      <vt:variant>
        <vt:lpstr>Theme</vt:lpstr>
      </vt:variant>
      <vt:variant>
        <vt:i4>4</vt:i4>
      </vt:variant>
      <vt:variant>
        <vt:lpstr>Slide Titles</vt:lpstr>
      </vt:variant>
      <vt:variant>
        <vt:i4>43</vt:i4>
      </vt:variant>
    </vt:vector>
  </HeadingPairs>
  <TitlesOfParts>
    <vt:vector size="47" baseType="lpstr">
      <vt:lpstr>3_Charts</vt:lpstr>
      <vt:lpstr>5_Charts</vt:lpstr>
      <vt:lpstr>1_SC_Shanghai_template_16x9</vt:lpstr>
      <vt:lpstr>2_SC_Shanghai_template_16x9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  <vt:lpstr>Slide 19</vt:lpstr>
      <vt:lpstr>Slide 20</vt:lpstr>
      <vt:lpstr>Slide 21</vt:lpstr>
      <vt:lpstr>Slide 22</vt:lpstr>
      <vt:lpstr>Slide 23</vt:lpstr>
      <vt:lpstr>Slide 24</vt:lpstr>
      <vt:lpstr>Slide 25</vt:lpstr>
      <vt:lpstr>Slide 26</vt:lpstr>
      <vt:lpstr>Slide 27</vt:lpstr>
      <vt:lpstr>Slide 28</vt:lpstr>
      <vt:lpstr>Slide 29</vt:lpstr>
      <vt:lpstr>Slide 30</vt:lpstr>
      <vt:lpstr>Slide 31</vt:lpstr>
      <vt:lpstr>Slide 32</vt:lpstr>
      <vt:lpstr>Clients are facing new security challenges, with advanced threats emerging continually, putting their business and brand at risk</vt:lpstr>
      <vt:lpstr>83% of CISOs say that the challenge posed by external threats has increased in the last three years</vt:lpstr>
      <vt:lpstr>2014:  25% more records leaked than 2013… insane!   </vt:lpstr>
      <vt:lpstr>Slide 36</vt:lpstr>
      <vt:lpstr>Sophistication is INCREASING</vt:lpstr>
      <vt:lpstr>Slide 38</vt:lpstr>
      <vt:lpstr>Slide 39</vt:lpstr>
      <vt:lpstr>Holistic View is mandatory for Security </vt:lpstr>
      <vt:lpstr>Security is as strong as its weakest link</vt:lpstr>
      <vt:lpstr>Based on extensive experience, IBM has outlined 10 essential practices for a stronger security posture</vt:lpstr>
      <vt:lpstr>Slide 43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: Title Line Two</dc:title>
  <dc:creator>IT</dc:creator>
  <cp:lastModifiedBy>ADMINIBM</cp:lastModifiedBy>
  <cp:revision>637</cp:revision>
  <cp:lastPrinted>2014-08-29T15:46:04Z</cp:lastPrinted>
  <dcterms:created xsi:type="dcterms:W3CDTF">2013-05-10T14:18:31Z</dcterms:created>
  <dcterms:modified xsi:type="dcterms:W3CDTF">2015-05-14T16:10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5005226</vt:lpwstr>
  </property>
  <property fmtid="{D5CDD505-2E9C-101B-9397-08002B2CF9AE}" pid="3" name="NXPowerLiteSettings">
    <vt:lpwstr>F980073804F000</vt:lpwstr>
  </property>
  <property fmtid="{D5CDD505-2E9C-101B-9397-08002B2CF9AE}" pid="4" name="NXPowerLiteVersion">
    <vt:lpwstr>D5.0.3</vt:lpwstr>
  </property>
  <property fmtid="{D5CDD505-2E9C-101B-9397-08002B2CF9AE}" pid="5" name="NXTAG2">
    <vt:lpwstr>000800a6730000000000010250300207f900050004a000</vt:lpwstr>
  </property>
</Properties>
</file>